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media/image9.JPG" ContentType="image/png"/>
  <Override PartName="/ppt/media/image10.JPG" ContentType="image/png"/>
  <Override PartName="/ppt/media/image16.JPG" ContentType="image/png"/>
  <Override PartName="/ppt/media/image18.JPG" ContentType="image/png"/>
  <Override PartName="/ppt/media/image22.JPG" ContentType="image/png"/>
  <Override PartName="/ppt/media/image23.JPG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sldIdLst>
    <p:sldId id="353" r:id="rId5"/>
    <p:sldId id="663" r:id="rId6"/>
    <p:sldId id="687" r:id="rId7"/>
    <p:sldId id="665" r:id="rId8"/>
    <p:sldId id="686" r:id="rId9"/>
    <p:sldId id="688" r:id="rId10"/>
    <p:sldId id="670" r:id="rId11"/>
    <p:sldId id="689" r:id="rId12"/>
    <p:sldId id="664" r:id="rId13"/>
    <p:sldId id="673" r:id="rId14"/>
    <p:sldId id="679" r:id="rId15"/>
    <p:sldId id="680" r:id="rId16"/>
    <p:sldId id="683" r:id="rId17"/>
    <p:sldId id="685" r:id="rId18"/>
    <p:sldId id="690" r:id="rId19"/>
    <p:sldId id="672" r:id="rId20"/>
    <p:sldId id="691" r:id="rId21"/>
    <p:sldId id="671" r:id="rId22"/>
    <p:sldId id="678" r:id="rId23"/>
    <p:sldId id="681" r:id="rId24"/>
    <p:sldId id="682" r:id="rId25"/>
    <p:sldId id="684" r:id="rId26"/>
  </p:sldIdLst>
  <p:sldSz cx="9144000" cy="5143500" type="screen16x9"/>
  <p:notesSz cx="6797675" cy="99282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louzennec, Solene" initials="PS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5F5F5F"/>
    <a:srgbClr val="747474"/>
    <a:srgbClr val="A6A6A6"/>
    <a:srgbClr val="B2B2B2"/>
    <a:srgbClr val="FFFDFD"/>
    <a:srgbClr val="FFFD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52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120" y="61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="" xmlns:a16="http://schemas.microsoft.com/office/drawing/2014/main" id="{3DC875E3-8289-42AF-B5B6-2E1BDA33A7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E0E8A459-FFD7-43F0-B691-6C3F9258AB7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A0C3F26-1A4D-43CE-BCF7-5A47577DEFCF}" type="datetimeFigureOut">
              <a:rPr lang="en-US"/>
              <a:pPr>
                <a:defRPr/>
              </a:pPr>
              <a:t>6/5/2018</a:t>
            </a:fld>
            <a:endParaRPr lang="de-DE"/>
          </a:p>
        </p:txBody>
      </p:sp>
      <p:sp>
        <p:nvSpPr>
          <p:cNvPr id="4" name="Folienbildplatzhalter 3">
            <a:extLst>
              <a:ext uri="{FF2B5EF4-FFF2-40B4-BE49-F238E27FC236}">
                <a16:creationId xmlns="" xmlns:a16="http://schemas.microsoft.com/office/drawing/2014/main" id="{DA768E42-C74A-4172-865A-1D6A3D27FC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="" xmlns:a16="http://schemas.microsoft.com/office/drawing/2014/main" id="{A7F86F84-6D41-40EB-BD50-458DC7ECCB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7575" y="4715629"/>
            <a:ext cx="4962525" cy="44679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100F09D7-6A46-4937-BD7B-6C705E96C2A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F6E4E01F-F6FA-4D24-86A9-AF807DEC60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96A7763-C7C6-4995-B5DE-B9EEB3C512D1}" type="slidenum">
              <a:rPr lang="en-US" altLang="en-US"/>
              <a:pPr>
                <a:defRPr/>
              </a:pPr>
              <a:t>‹Nr.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063821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gradFill rotWithShape="0">
          <a:gsLst>
            <a:gs pos="0">
              <a:srgbClr val="747474"/>
            </a:gs>
            <a:gs pos="14999">
              <a:srgbClr val="747474"/>
            </a:gs>
            <a:gs pos="50000">
              <a:srgbClr val="D9D9D9"/>
            </a:gs>
            <a:gs pos="100000">
              <a:srgbClr val="747474"/>
            </a:gs>
          </a:gsLst>
          <a:lin ang="12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6">
            <a:extLst>
              <a:ext uri="{FF2B5EF4-FFF2-40B4-BE49-F238E27FC236}">
                <a16:creationId xmlns="" xmlns:a16="http://schemas.microsoft.com/office/drawing/2014/main" id="{7DF6703D-BB57-4444-99B5-9B10E637E8A8}"/>
              </a:ext>
            </a:extLst>
          </p:cNvPr>
          <p:cNvSpPr/>
          <p:nvPr userDrawn="1"/>
        </p:nvSpPr>
        <p:spPr>
          <a:xfrm>
            <a:off x="179388" y="195263"/>
            <a:ext cx="8785225" cy="273685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Bitte decken Sie die schraffierte Fläche mit einem Bild ab.</a:t>
            </a:r>
          </a:p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Bitte decken Sie die schraffierte Fläche mit einem Bild ab.</a:t>
            </a:r>
          </a:p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(24,4 x 7,6 cm)</a:t>
            </a:r>
          </a:p>
        </p:txBody>
      </p:sp>
      <p:grpSp>
        <p:nvGrpSpPr>
          <p:cNvPr id="8" name="Gruppieren 15">
            <a:extLst>
              <a:ext uri="{FF2B5EF4-FFF2-40B4-BE49-F238E27FC236}">
                <a16:creationId xmlns="" xmlns:a16="http://schemas.microsoft.com/office/drawing/2014/main" id="{01C99B34-5131-4B63-9010-0AB7CAABAC3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9" name="Rechteck 18">
              <a:extLst>
                <a:ext uri="{FF2B5EF4-FFF2-40B4-BE49-F238E27FC236}">
                  <a16:creationId xmlns="" xmlns:a16="http://schemas.microsoft.com/office/drawing/2014/main" id="{C1C87EB9-BE0C-4949-8E3F-AA2FAD8344CE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9">
              <a:extLst>
                <a:ext uri="{FF2B5EF4-FFF2-40B4-BE49-F238E27FC236}">
                  <a16:creationId xmlns="" xmlns:a16="http://schemas.microsoft.com/office/drawing/2014/main" id="{05B8DB17-32AF-4E77-A676-785AA1501AA4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20">
              <a:extLst>
                <a:ext uri="{FF2B5EF4-FFF2-40B4-BE49-F238E27FC236}">
                  <a16:creationId xmlns="" xmlns:a16="http://schemas.microsoft.com/office/drawing/2014/main" id="{10C5F786-D529-4B99-917A-0A396765ABE1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21">
              <a:extLst>
                <a:ext uri="{FF2B5EF4-FFF2-40B4-BE49-F238E27FC236}">
                  <a16:creationId xmlns="" xmlns:a16="http://schemas.microsoft.com/office/drawing/2014/main" id="{62AF8835-5425-4CAA-A0FD-2962AFBB1A06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5" name="Rechteck 22">
            <a:extLst>
              <a:ext uri="{FF2B5EF4-FFF2-40B4-BE49-F238E27FC236}">
                <a16:creationId xmlns="" xmlns:a16="http://schemas.microsoft.com/office/drawing/2014/main" id="{4348494C-8533-4FAB-BF01-51826DD5EFD6}"/>
              </a:ext>
            </a:extLst>
          </p:cNvPr>
          <p:cNvSpPr/>
          <p:nvPr userDrawn="1"/>
        </p:nvSpPr>
        <p:spPr>
          <a:xfrm>
            <a:off x="503238" y="-425450"/>
            <a:ext cx="8640762" cy="36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  <a:defRPr/>
            </a:pPr>
            <a:r>
              <a:rPr lang="de-DE" alt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eaLnBrk="1" hangingPunct="1">
              <a:buSzPct val="100000"/>
              <a:defRPr/>
            </a:pPr>
            <a:r>
              <a:rPr lang="de-DE" altLang="en-US" sz="900">
                <a:solidFill>
                  <a:srgbClr val="000000"/>
                </a:solidFill>
              </a:rPr>
              <a:t>Wenn Sie ein neues Bild einfügen: Klicken Sie mit der rechten Maustaste auf das Bild, und wählen Sie „In den Hintergrund“, um das Bild hinter das Quality Seal zu bringen.</a:t>
            </a:r>
          </a:p>
        </p:txBody>
      </p:sp>
      <p:cxnSp>
        <p:nvCxnSpPr>
          <p:cNvPr id="16" name="Gerade Verbindung 31">
            <a:extLst>
              <a:ext uri="{FF2B5EF4-FFF2-40B4-BE49-F238E27FC236}">
                <a16:creationId xmlns="" xmlns:a16="http://schemas.microsoft.com/office/drawing/2014/main" id="{24B52A63-68E4-4AAB-8DBD-D0A2D2764A72}"/>
              </a:ext>
            </a:extLst>
          </p:cNvPr>
          <p:cNvCxnSpPr/>
          <p:nvPr userDrawn="1"/>
        </p:nvCxnSpPr>
        <p:spPr>
          <a:xfrm>
            <a:off x="503238" y="-128588"/>
            <a:ext cx="0" cy="10001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2">
            <a:extLst>
              <a:ext uri="{FF2B5EF4-FFF2-40B4-BE49-F238E27FC236}">
                <a16:creationId xmlns="" xmlns:a16="http://schemas.microsoft.com/office/drawing/2014/main" id="{45B02054-10AA-4AE6-BE28-280ECDE5B1A2}"/>
              </a:ext>
            </a:extLst>
          </p:cNvPr>
          <p:cNvCxnSpPr/>
          <p:nvPr userDrawn="1"/>
        </p:nvCxnSpPr>
        <p:spPr>
          <a:xfrm>
            <a:off x="3059113" y="-128588"/>
            <a:ext cx="0" cy="10001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3">
            <a:extLst>
              <a:ext uri="{FF2B5EF4-FFF2-40B4-BE49-F238E27FC236}">
                <a16:creationId xmlns="" xmlns:a16="http://schemas.microsoft.com/office/drawing/2014/main" id="{E7D710D2-98D3-40B6-929A-FA480A8DD619}"/>
              </a:ext>
            </a:extLst>
          </p:cNvPr>
          <p:cNvCxnSpPr/>
          <p:nvPr userDrawn="1"/>
        </p:nvCxnSpPr>
        <p:spPr>
          <a:xfrm rot="5400000">
            <a:off x="-103188" y="1243013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4">
            <a:extLst>
              <a:ext uri="{FF2B5EF4-FFF2-40B4-BE49-F238E27FC236}">
                <a16:creationId xmlns="" xmlns:a16="http://schemas.microsoft.com/office/drawing/2014/main" id="{4B89253A-B43C-40C2-97BD-0F49E68472B0}"/>
              </a:ext>
            </a:extLst>
          </p:cNvPr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4299942"/>
            <a:ext cx="2628590" cy="367200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2" y="4299942"/>
            <a:ext cx="5075797" cy="367200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6457044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" name="Datumsplatzhalter 23">
            <a:extLst>
              <a:ext uri="{FF2B5EF4-FFF2-40B4-BE49-F238E27FC236}">
                <a16:creationId xmlns="" xmlns:a16="http://schemas.microsoft.com/office/drawing/2014/main" id="{1ADC224D-0F1F-4490-BFF8-FAE287F0E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5" name="Fußzeilenplatzhalter 24">
            <a:extLst>
              <a:ext uri="{FF2B5EF4-FFF2-40B4-BE49-F238E27FC236}">
                <a16:creationId xmlns="" xmlns:a16="http://schemas.microsoft.com/office/drawing/2014/main" id="{A4D56C36-2EB4-4149-BD5E-1A878ABC6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6" name="Foliennummernplatzhalter 25">
            <a:extLst>
              <a:ext uri="{FF2B5EF4-FFF2-40B4-BE49-F238E27FC236}">
                <a16:creationId xmlns="" xmlns:a16="http://schemas.microsoft.com/office/drawing/2014/main" id="{A9C46730-C1B2-4960-8AB4-8EF6C145A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1A5595-4305-4B63-9D7B-6DC2D32FF973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3981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5" name="Datumsplatzhalter 23">
            <a:extLst>
              <a:ext uri="{FF2B5EF4-FFF2-40B4-BE49-F238E27FC236}">
                <a16:creationId xmlns="" xmlns:a16="http://schemas.microsoft.com/office/drawing/2014/main" id="{41AC5EF6-6DBC-4936-8E4A-93D6EAB48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6" name="Fußzeilenplatzhalter 24">
            <a:extLst>
              <a:ext uri="{FF2B5EF4-FFF2-40B4-BE49-F238E27FC236}">
                <a16:creationId xmlns="" xmlns:a16="http://schemas.microsoft.com/office/drawing/2014/main" id="{29CB40CD-1CF3-45D2-AFC0-1D8CF84A5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7" name="Foliennummernplatzhalter 25">
            <a:extLst>
              <a:ext uri="{FF2B5EF4-FFF2-40B4-BE49-F238E27FC236}">
                <a16:creationId xmlns="" xmlns:a16="http://schemas.microsoft.com/office/drawing/2014/main" id="{FF7511E5-DA8E-4E1E-A7B0-49F7A3F6C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1C8305-A672-41EE-8276-281F6797A2FF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56756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" name="Datumsplatzhalter 23">
            <a:extLst>
              <a:ext uri="{FF2B5EF4-FFF2-40B4-BE49-F238E27FC236}">
                <a16:creationId xmlns="" xmlns:a16="http://schemas.microsoft.com/office/drawing/2014/main" id="{DB312C75-71F9-4D85-B121-55D781098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5" name="Fußzeilenplatzhalter 24">
            <a:extLst>
              <a:ext uri="{FF2B5EF4-FFF2-40B4-BE49-F238E27FC236}">
                <a16:creationId xmlns="" xmlns:a16="http://schemas.microsoft.com/office/drawing/2014/main" id="{006569DD-64BD-4DD8-9145-19587FF31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6" name="Foliennummernplatzhalter 25">
            <a:extLst>
              <a:ext uri="{FF2B5EF4-FFF2-40B4-BE49-F238E27FC236}">
                <a16:creationId xmlns="" xmlns:a16="http://schemas.microsoft.com/office/drawing/2014/main" id="{E3EEC84D-4FD5-48EF-AD94-15DD5E83C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FB961-DDD2-4622-BF22-D00BF5B2E397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33383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6" name="Datumsplatzhalter 23">
            <a:extLst>
              <a:ext uri="{FF2B5EF4-FFF2-40B4-BE49-F238E27FC236}">
                <a16:creationId xmlns="" xmlns:a16="http://schemas.microsoft.com/office/drawing/2014/main" id="{29F95A98-7CB5-4232-974F-C6080663F93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7" name="Fußzeilenplatzhalter 24">
            <a:extLst>
              <a:ext uri="{FF2B5EF4-FFF2-40B4-BE49-F238E27FC236}">
                <a16:creationId xmlns="" xmlns:a16="http://schemas.microsoft.com/office/drawing/2014/main" id="{FAA4E1DA-AFE9-41F6-9C02-6FDF3B0282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10" name="Foliennummernplatzhalter 25">
            <a:extLst>
              <a:ext uri="{FF2B5EF4-FFF2-40B4-BE49-F238E27FC236}">
                <a16:creationId xmlns="" xmlns:a16="http://schemas.microsoft.com/office/drawing/2014/main" id="{F9475637-14CD-49C8-BFA8-E31F04467A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B205E-683C-4DBD-8118-B76F3D0FEA26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271444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7" name="Datumsplatzhalter 23">
            <a:extLst>
              <a:ext uri="{FF2B5EF4-FFF2-40B4-BE49-F238E27FC236}">
                <a16:creationId xmlns="" xmlns:a16="http://schemas.microsoft.com/office/drawing/2014/main" id="{B277CF03-E586-46AE-A08E-0B486B0AA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8" name="Fußzeilenplatzhalter 24">
            <a:extLst>
              <a:ext uri="{FF2B5EF4-FFF2-40B4-BE49-F238E27FC236}">
                <a16:creationId xmlns="" xmlns:a16="http://schemas.microsoft.com/office/drawing/2014/main" id="{8B7FE465-69C8-40D7-8322-140C01A4322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9" name="Foliennummernplatzhalter 25">
            <a:extLst>
              <a:ext uri="{FF2B5EF4-FFF2-40B4-BE49-F238E27FC236}">
                <a16:creationId xmlns="" xmlns:a16="http://schemas.microsoft.com/office/drawing/2014/main" id="{9627C7F9-F169-4F0F-9F87-AE6EEC70265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BA599-11E2-4D37-8750-40060D8D7178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4088525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Datumsplatzhalter 23">
            <a:extLst>
              <a:ext uri="{FF2B5EF4-FFF2-40B4-BE49-F238E27FC236}">
                <a16:creationId xmlns="" xmlns:a16="http://schemas.microsoft.com/office/drawing/2014/main" id="{4C603295-415B-40A2-A184-F55D9F982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4" name="Fußzeilenplatzhalter 24">
            <a:extLst>
              <a:ext uri="{FF2B5EF4-FFF2-40B4-BE49-F238E27FC236}">
                <a16:creationId xmlns="" xmlns:a16="http://schemas.microsoft.com/office/drawing/2014/main" id="{F285599F-8138-4BF3-9BE9-99EF50FFF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5" name="Foliennummernplatzhalter 25">
            <a:extLst>
              <a:ext uri="{FF2B5EF4-FFF2-40B4-BE49-F238E27FC236}">
                <a16:creationId xmlns="" xmlns:a16="http://schemas.microsoft.com/office/drawing/2014/main" id="{F6725DFC-5632-40E5-A0DD-FC5A30E88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C37FC-6C11-4C48-A88B-FBA9873FFCBE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240269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23">
            <a:extLst>
              <a:ext uri="{FF2B5EF4-FFF2-40B4-BE49-F238E27FC236}">
                <a16:creationId xmlns="" xmlns:a16="http://schemas.microsoft.com/office/drawing/2014/main" id="{2C8A48AD-FA2C-4944-B771-BFBACA017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3" name="Fußzeilenplatzhalter 24">
            <a:extLst>
              <a:ext uri="{FF2B5EF4-FFF2-40B4-BE49-F238E27FC236}">
                <a16:creationId xmlns="" xmlns:a16="http://schemas.microsoft.com/office/drawing/2014/main" id="{D7505DEC-CB0D-4D95-9AF9-519035686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4" name="Foliennummernplatzhalter 25">
            <a:extLst>
              <a:ext uri="{FF2B5EF4-FFF2-40B4-BE49-F238E27FC236}">
                <a16:creationId xmlns="" xmlns:a16="http://schemas.microsoft.com/office/drawing/2014/main" id="{7DE49F17-5867-48B0-B467-65E3FF60F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981D3A-6766-4CA6-9619-386669F49C4D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5733894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silver)">
    <p:bg>
      <p:bgPr>
        <a:gradFill rotWithShape="0">
          <a:gsLst>
            <a:gs pos="0">
              <a:srgbClr val="747474"/>
            </a:gs>
            <a:gs pos="14999">
              <a:srgbClr val="747474"/>
            </a:gs>
            <a:gs pos="50000">
              <a:srgbClr val="D9D9D9"/>
            </a:gs>
            <a:gs pos="100000">
              <a:srgbClr val="747474"/>
            </a:gs>
          </a:gsLst>
          <a:lin ang="12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>
            <a:extLst>
              <a:ext uri="{FF2B5EF4-FFF2-40B4-BE49-F238E27FC236}">
                <a16:creationId xmlns="" xmlns:a16="http://schemas.microsoft.com/office/drawing/2014/main" id="{7D51E7AE-E6B9-4D8E-9CA3-75C8A8E5C7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5" name="Rechteck 17">
              <a:extLst>
                <a:ext uri="{FF2B5EF4-FFF2-40B4-BE49-F238E27FC236}">
                  <a16:creationId xmlns="" xmlns:a16="http://schemas.microsoft.com/office/drawing/2014/main" id="{336BC4A7-18A2-4ABE-AD9F-640F486CA19E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0F9EDB85-C1B8-4CC9-BF9C-98CF0A10F375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E1645DA1-3DAF-42EF-A075-3A68254C3DC5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F0285F5C-7F29-42E8-9291-300D32C35466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0" name="Bild 3">
            <a:extLst>
              <a:ext uri="{FF2B5EF4-FFF2-40B4-BE49-F238E27FC236}">
                <a16:creationId xmlns="" xmlns:a16="http://schemas.microsoft.com/office/drawing/2014/main" id="{B3D67671-E785-43FF-85FC-79D8FFD9C7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381500"/>
            <a:ext cx="1858963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Gerade Verbindung 24">
            <a:extLst>
              <a:ext uri="{FF2B5EF4-FFF2-40B4-BE49-F238E27FC236}">
                <a16:creationId xmlns="" xmlns:a16="http://schemas.microsoft.com/office/drawing/2014/main" id="{6CDA7707-D4F2-4FB3-B498-A2B2402DB45C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5334"/>
            <a:ext cx="8353425" cy="1900741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78878"/>
            <a:ext cx="8353425" cy="720000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Datumsplatzhalter 8">
            <a:extLst>
              <a:ext uri="{FF2B5EF4-FFF2-40B4-BE49-F238E27FC236}">
                <a16:creationId xmlns="" xmlns:a16="http://schemas.microsoft.com/office/drawing/2014/main" id="{AEEA27CE-B741-44AD-92F8-1127E0455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="" xmlns:a16="http://schemas.microsoft.com/office/drawing/2014/main" id="{5C788647-C9C4-42E9-AFA3-0B61DEF29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022C84-F677-4D81-849B-D95825C2BF6C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4" name="Fußzeilenplatzhalter 10">
            <a:extLst>
              <a:ext uri="{FF2B5EF4-FFF2-40B4-BE49-F238E27FC236}">
                <a16:creationId xmlns="" xmlns:a16="http://schemas.microsoft.com/office/drawing/2014/main" id="{741E73F3-EC23-403A-907A-23D4FCB132E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9228868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="" xmlns:a16="http://schemas.microsoft.com/office/drawing/2014/main" id="{149E262B-EA7E-48EA-9671-017CA98EB237}"/>
              </a:ext>
            </a:extLst>
          </p:cNvPr>
          <p:cNvSpPr/>
          <p:nvPr userDrawn="1"/>
        </p:nvSpPr>
        <p:spPr>
          <a:xfrm>
            <a:off x="7596188" y="303213"/>
            <a:ext cx="1260475" cy="5762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5" name="Gruppieren 15">
            <a:extLst>
              <a:ext uri="{FF2B5EF4-FFF2-40B4-BE49-F238E27FC236}">
                <a16:creationId xmlns="" xmlns:a16="http://schemas.microsoft.com/office/drawing/2014/main" id="{8D4A0E24-3851-4036-948F-E6935B0A1F1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B2BD7009-AEED-493D-B71A-3E5908F30E92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48C2957E-5483-499F-A940-41BEBF2082B4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98E1602A-8D35-4CD6-88EE-3A8DCA557B9B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Rechteck 21">
              <a:extLst>
                <a:ext uri="{FF2B5EF4-FFF2-40B4-BE49-F238E27FC236}">
                  <a16:creationId xmlns="" xmlns:a16="http://schemas.microsoft.com/office/drawing/2014/main" id="{A5688DEE-E636-4E0C-A754-09E5F74BC344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1" name="Bild 3">
            <a:extLst>
              <a:ext uri="{FF2B5EF4-FFF2-40B4-BE49-F238E27FC236}">
                <a16:creationId xmlns="" xmlns:a16="http://schemas.microsoft.com/office/drawing/2014/main" id="{C56B5EE8-3EEB-4620-8BB2-BCBAF694F0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381500"/>
            <a:ext cx="1858963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Gerade Verbindung 24">
            <a:extLst>
              <a:ext uri="{FF2B5EF4-FFF2-40B4-BE49-F238E27FC236}">
                <a16:creationId xmlns="" xmlns:a16="http://schemas.microsoft.com/office/drawing/2014/main" id="{3D22D324-FBE3-45CF-BDDB-D664F83B975C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Datumsplatzhalter 8">
            <a:extLst>
              <a:ext uri="{FF2B5EF4-FFF2-40B4-BE49-F238E27FC236}">
                <a16:creationId xmlns="" xmlns:a16="http://schemas.microsoft.com/office/drawing/2014/main" id="{D77D12E4-78A6-4E3A-8B62-9237C1D6F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4" name="Foliennummernplatzhalter 9">
            <a:extLst>
              <a:ext uri="{FF2B5EF4-FFF2-40B4-BE49-F238E27FC236}">
                <a16:creationId xmlns="" xmlns:a16="http://schemas.microsoft.com/office/drawing/2014/main" id="{DE6C1803-A2D0-4120-B260-3135AF6662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1D01A-74C5-4F29-A27E-555E8F133CB8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5" name="Fußzeilenplatzhalter 10">
            <a:extLst>
              <a:ext uri="{FF2B5EF4-FFF2-40B4-BE49-F238E27FC236}">
                <a16:creationId xmlns="" xmlns:a16="http://schemas.microsoft.com/office/drawing/2014/main" id="{B1D9C7F8-4E23-4EF7-8B90-2B83F357D3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6632823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>
            <a:extLst>
              <a:ext uri="{FF2B5EF4-FFF2-40B4-BE49-F238E27FC236}">
                <a16:creationId xmlns="" xmlns:a16="http://schemas.microsoft.com/office/drawing/2014/main" id="{2AF5B5BF-2404-4D30-A64C-9A69DDBA703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5" name="Rechteck 17">
              <a:extLst>
                <a:ext uri="{FF2B5EF4-FFF2-40B4-BE49-F238E27FC236}">
                  <a16:creationId xmlns="" xmlns:a16="http://schemas.microsoft.com/office/drawing/2014/main" id="{8E0603C1-AC94-40E1-9A40-0B196CDBB78F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B5850319-195E-469B-BB6D-D84149840DC4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69F98CF6-C2AC-41F6-9A71-B5895913A88D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42B52BF0-5105-49EF-8050-03BB54238E17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Datumsplatzhalter 8">
            <a:extLst>
              <a:ext uri="{FF2B5EF4-FFF2-40B4-BE49-F238E27FC236}">
                <a16:creationId xmlns="" xmlns:a16="http://schemas.microsoft.com/office/drawing/2014/main" id="{73A72C2A-FD60-41CD-A47E-92EAE814C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="" xmlns:a16="http://schemas.microsoft.com/office/drawing/2014/main" id="{2A43103D-A128-4B41-859D-C1C86B9216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366A53-1CA6-4195-B622-F5084083C56D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2" name="Fußzeilenplatzhalter 10">
            <a:extLst>
              <a:ext uri="{FF2B5EF4-FFF2-40B4-BE49-F238E27FC236}">
                <a16:creationId xmlns="" xmlns:a16="http://schemas.microsoft.com/office/drawing/2014/main" id="{57EF6D28-B593-4C10-B39B-8E278139DF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57552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" name="Datumsplatzhalter 23">
            <a:extLst>
              <a:ext uri="{FF2B5EF4-FFF2-40B4-BE49-F238E27FC236}">
                <a16:creationId xmlns="" xmlns:a16="http://schemas.microsoft.com/office/drawing/2014/main" id="{04BCA935-42FF-4B18-AF00-CCAB12281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5" name="Fußzeilenplatzhalter 24">
            <a:extLst>
              <a:ext uri="{FF2B5EF4-FFF2-40B4-BE49-F238E27FC236}">
                <a16:creationId xmlns="" xmlns:a16="http://schemas.microsoft.com/office/drawing/2014/main" id="{E1623767-CF22-4C21-9229-3497E74C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6" name="Foliennummernplatzhalter 25">
            <a:extLst>
              <a:ext uri="{FF2B5EF4-FFF2-40B4-BE49-F238E27FC236}">
                <a16:creationId xmlns="" xmlns:a16="http://schemas.microsoft.com/office/drawing/2014/main" id="{66EBEDCE-6276-4431-9AB6-C64C13DF8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3FE3B-FBE9-4526-AFF4-096FD25D20F9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566772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="" xmlns:a16="http://schemas.microsoft.com/office/drawing/2014/main" id="{6952C988-F22E-44E9-A9AF-12E185351D78}"/>
              </a:ext>
            </a:extLst>
          </p:cNvPr>
          <p:cNvSpPr/>
          <p:nvPr userDrawn="1"/>
        </p:nvSpPr>
        <p:spPr>
          <a:xfrm>
            <a:off x="7596188" y="303213"/>
            <a:ext cx="1260475" cy="57626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5" name="Gruppieren 15">
            <a:extLst>
              <a:ext uri="{FF2B5EF4-FFF2-40B4-BE49-F238E27FC236}">
                <a16:creationId xmlns="" xmlns:a16="http://schemas.microsoft.com/office/drawing/2014/main" id="{27DD89A0-A337-4C9A-ACD1-5FA9522512E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FFC802A2-3F64-4619-BD42-0CE481BCDFCD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2211BCB7-6DC6-4E2B-810E-7E970D28ECDB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D7E7DFBE-ED65-45BF-B552-276550360B58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Rechteck 21">
              <a:extLst>
                <a:ext uri="{FF2B5EF4-FFF2-40B4-BE49-F238E27FC236}">
                  <a16:creationId xmlns="" xmlns:a16="http://schemas.microsoft.com/office/drawing/2014/main" id="{FC2D1D1B-8FC6-4584-B4D4-1751A0786B50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11" name="Gerade Verbindung 22">
            <a:extLst>
              <a:ext uri="{FF2B5EF4-FFF2-40B4-BE49-F238E27FC236}">
                <a16:creationId xmlns="" xmlns:a16="http://schemas.microsoft.com/office/drawing/2014/main" id="{A1D566D6-E5C2-4ED7-8429-370DE6D45136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Datumsplatzhalter 8">
            <a:extLst>
              <a:ext uri="{FF2B5EF4-FFF2-40B4-BE49-F238E27FC236}">
                <a16:creationId xmlns="" xmlns:a16="http://schemas.microsoft.com/office/drawing/2014/main" id="{8832405A-4A27-4433-8E23-D6F32705D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="" xmlns:a16="http://schemas.microsoft.com/office/drawing/2014/main" id="{618B524E-408E-412D-AF75-5CE9F32128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E11A040-B177-44C2-9A26-20AEC69E8506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4" name="Fußzeilenplatzhalter 10">
            <a:extLst>
              <a:ext uri="{FF2B5EF4-FFF2-40B4-BE49-F238E27FC236}">
                <a16:creationId xmlns="" xmlns:a16="http://schemas.microsoft.com/office/drawing/2014/main" id="{C8E33325-E47C-4CFD-8437-85DF519AEB8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15184275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gradFill rotWithShape="0">
          <a:gsLst>
            <a:gs pos="0">
              <a:srgbClr val="747474"/>
            </a:gs>
            <a:gs pos="14999">
              <a:srgbClr val="747474"/>
            </a:gs>
            <a:gs pos="50000">
              <a:srgbClr val="D9D9D9"/>
            </a:gs>
            <a:gs pos="100000">
              <a:srgbClr val="747474"/>
            </a:gs>
          </a:gsLst>
          <a:lin ang="12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16">
            <a:extLst>
              <a:ext uri="{FF2B5EF4-FFF2-40B4-BE49-F238E27FC236}">
                <a16:creationId xmlns="" xmlns:a16="http://schemas.microsoft.com/office/drawing/2014/main" id="{3F96E1D3-8510-44A9-9ED1-12B015E6820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-1"/>
            <a:chExt cx="9144000" cy="6858002"/>
          </a:xfrm>
        </p:grpSpPr>
        <p:grpSp>
          <p:nvGrpSpPr>
            <p:cNvPr id="7" name="Gruppieren 15">
              <a:extLst>
                <a:ext uri="{FF2B5EF4-FFF2-40B4-BE49-F238E27FC236}">
                  <a16:creationId xmlns="" xmlns:a16="http://schemas.microsoft.com/office/drawing/2014/main" id="{C1F02B75-B79D-45D7-8465-A5904CE91F3F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19">
                <a:extLst>
                  <a:ext uri="{FF2B5EF4-FFF2-40B4-BE49-F238E27FC236}">
                    <a16:creationId xmlns="" xmlns:a16="http://schemas.microsoft.com/office/drawing/2014/main" id="{F09B9A9B-A708-4F1B-88A0-F988BA32E587}"/>
                  </a:ext>
                </a:extLst>
              </p:cNvPr>
              <p:cNvSpPr/>
              <p:nvPr userDrawn="1"/>
            </p:nvSpPr>
            <p:spPr>
              <a:xfrm>
                <a:off x="0" y="-1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20">
                <a:extLst>
                  <a:ext uri="{FF2B5EF4-FFF2-40B4-BE49-F238E27FC236}">
                    <a16:creationId xmlns="" xmlns:a16="http://schemas.microsoft.com/office/drawing/2014/main" id="{055F2A0A-96E5-4823-8C00-762C963A61AE}"/>
                  </a:ext>
                </a:extLst>
              </p:cNvPr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21">
                <a:extLst>
                  <a:ext uri="{FF2B5EF4-FFF2-40B4-BE49-F238E27FC236}">
                    <a16:creationId xmlns="" xmlns:a16="http://schemas.microsoft.com/office/drawing/2014/main" id="{430759FC-FE1F-4D16-97C9-BE4DD7EE9251}"/>
                  </a:ext>
                </a:extLst>
              </p:cNvPr>
              <p:cNvSpPr/>
              <p:nvPr userDrawn="1"/>
            </p:nvSpPr>
            <p:spPr>
              <a:xfrm>
                <a:off x="0" y="-1"/>
                <a:ext cx="179388" cy="685800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4" name="Rechteck 22">
                <a:extLst>
                  <a:ext uri="{FF2B5EF4-FFF2-40B4-BE49-F238E27FC236}">
                    <a16:creationId xmlns="" xmlns:a16="http://schemas.microsoft.com/office/drawing/2014/main" id="{220C8BBD-99B6-4F8F-B5D4-85035FDE9452}"/>
                  </a:ext>
                </a:extLst>
              </p:cNvPr>
              <p:cNvSpPr/>
              <p:nvPr userDrawn="1"/>
            </p:nvSpPr>
            <p:spPr>
              <a:xfrm>
                <a:off x="8964613" y="-1"/>
                <a:ext cx="179387" cy="685800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8" name="Grafik 18">
              <a:extLst>
                <a:ext uri="{FF2B5EF4-FFF2-40B4-BE49-F238E27FC236}">
                  <a16:creationId xmlns="" xmlns:a16="http://schemas.microsoft.com/office/drawing/2014/main" id="{EBFEC3CE-8D17-4C6D-BAD1-BD2533FCF9A9}"/>
                </a:ext>
              </a:extLst>
            </p:cNvPr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238" y="-1"/>
              <a:ext cx="2555876" cy="1748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4299942"/>
            <a:ext cx="2628590" cy="367200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2" y="4299942"/>
            <a:ext cx="5075797" cy="367200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39031830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gradFill rotWithShape="0">
          <a:gsLst>
            <a:gs pos="0">
              <a:srgbClr val="747474"/>
            </a:gs>
            <a:gs pos="14999">
              <a:srgbClr val="747474"/>
            </a:gs>
            <a:gs pos="50000">
              <a:srgbClr val="D9D9D9"/>
            </a:gs>
            <a:gs pos="100000">
              <a:srgbClr val="747474"/>
            </a:gs>
          </a:gsLst>
          <a:lin ang="12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6">
            <a:extLst>
              <a:ext uri="{FF2B5EF4-FFF2-40B4-BE49-F238E27FC236}">
                <a16:creationId xmlns="" xmlns:a16="http://schemas.microsoft.com/office/drawing/2014/main" id="{B2E017B1-7AE3-48D8-A77F-7002F91322D3}"/>
              </a:ext>
            </a:extLst>
          </p:cNvPr>
          <p:cNvSpPr/>
          <p:nvPr userDrawn="1"/>
        </p:nvSpPr>
        <p:spPr>
          <a:xfrm>
            <a:off x="179388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Bitte decken Sie die schraffierte Fläche mit einem Bild ab.</a:t>
            </a:r>
          </a:p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Bitte decken Sie die schraffierte Fläche mit einem Bild ab.</a:t>
            </a:r>
          </a:p>
          <a:p>
            <a:pPr algn="ctr" eaLnBrk="1" hangingPunct="1">
              <a:buSzPct val="100000"/>
              <a:defRPr/>
            </a:pPr>
            <a:r>
              <a:rPr lang="de-DE" altLang="en-US" sz="1600">
                <a:solidFill>
                  <a:srgbClr val="FFFFFF"/>
                </a:solidFill>
              </a:rPr>
              <a:t>(24,4 x 13,2 cm)</a:t>
            </a:r>
          </a:p>
        </p:txBody>
      </p:sp>
      <p:grpSp>
        <p:nvGrpSpPr>
          <p:cNvPr id="8" name="Gruppieren 15">
            <a:extLst>
              <a:ext uri="{FF2B5EF4-FFF2-40B4-BE49-F238E27FC236}">
                <a16:creationId xmlns="" xmlns:a16="http://schemas.microsoft.com/office/drawing/2014/main" id="{672341C8-4465-433D-8289-9496CE1D6EF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9" name="Rechteck 18">
              <a:extLst>
                <a:ext uri="{FF2B5EF4-FFF2-40B4-BE49-F238E27FC236}">
                  <a16:creationId xmlns="" xmlns:a16="http://schemas.microsoft.com/office/drawing/2014/main" id="{2AFBD841-2654-4B6E-9B6A-1E5D198663B2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9">
              <a:extLst>
                <a:ext uri="{FF2B5EF4-FFF2-40B4-BE49-F238E27FC236}">
                  <a16:creationId xmlns="" xmlns:a16="http://schemas.microsoft.com/office/drawing/2014/main" id="{5055100B-1043-4D1A-8156-9448389A7D2D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20">
              <a:extLst>
                <a:ext uri="{FF2B5EF4-FFF2-40B4-BE49-F238E27FC236}">
                  <a16:creationId xmlns="" xmlns:a16="http://schemas.microsoft.com/office/drawing/2014/main" id="{3C638D44-92DA-4F93-BC7B-045363BCA8D6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21">
              <a:extLst>
                <a:ext uri="{FF2B5EF4-FFF2-40B4-BE49-F238E27FC236}">
                  <a16:creationId xmlns="" xmlns:a16="http://schemas.microsoft.com/office/drawing/2014/main" id="{78AAC093-3E69-4257-B676-874FAE1D98A3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5" name="Rechteck 22">
            <a:extLst>
              <a:ext uri="{FF2B5EF4-FFF2-40B4-BE49-F238E27FC236}">
                <a16:creationId xmlns="" xmlns:a16="http://schemas.microsoft.com/office/drawing/2014/main" id="{6EF4CC34-70B7-417E-BAB5-E99300896369}"/>
              </a:ext>
            </a:extLst>
          </p:cNvPr>
          <p:cNvSpPr/>
          <p:nvPr userDrawn="1"/>
        </p:nvSpPr>
        <p:spPr>
          <a:xfrm>
            <a:off x="503238" y="-425450"/>
            <a:ext cx="8640762" cy="36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  <a:defRPr/>
            </a:pPr>
            <a:r>
              <a:rPr lang="de-DE" alt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eaLnBrk="1" hangingPunct="1">
              <a:buSzPct val="100000"/>
              <a:defRPr/>
            </a:pPr>
            <a:r>
              <a:rPr lang="de-DE" altLang="en-US" sz="900">
                <a:solidFill>
                  <a:srgbClr val="000000"/>
                </a:solidFill>
              </a:rPr>
              <a:t>Wenn Sie ein neues Bild einfügen: Klicken Sie mit der rechten Maustaste auf das Bild und wählen Sie „In den Hintergrund“, um das Bild hinter das Quality Seal zu bringen.</a:t>
            </a:r>
          </a:p>
        </p:txBody>
      </p:sp>
      <p:cxnSp>
        <p:nvCxnSpPr>
          <p:cNvPr id="16" name="Gerade Verbindung 31">
            <a:extLst>
              <a:ext uri="{FF2B5EF4-FFF2-40B4-BE49-F238E27FC236}">
                <a16:creationId xmlns="" xmlns:a16="http://schemas.microsoft.com/office/drawing/2014/main" id="{87336A42-AF25-4930-BE03-D22D9657F968}"/>
              </a:ext>
            </a:extLst>
          </p:cNvPr>
          <p:cNvCxnSpPr/>
          <p:nvPr userDrawn="1"/>
        </p:nvCxnSpPr>
        <p:spPr>
          <a:xfrm>
            <a:off x="503238" y="-128588"/>
            <a:ext cx="0" cy="10001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2">
            <a:extLst>
              <a:ext uri="{FF2B5EF4-FFF2-40B4-BE49-F238E27FC236}">
                <a16:creationId xmlns="" xmlns:a16="http://schemas.microsoft.com/office/drawing/2014/main" id="{E7D3E54E-0BA2-43C3-A5C9-C766F0E34E14}"/>
              </a:ext>
            </a:extLst>
          </p:cNvPr>
          <p:cNvCxnSpPr/>
          <p:nvPr userDrawn="1"/>
        </p:nvCxnSpPr>
        <p:spPr>
          <a:xfrm>
            <a:off x="3059113" y="-128588"/>
            <a:ext cx="0" cy="10001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4">
            <a:extLst>
              <a:ext uri="{FF2B5EF4-FFF2-40B4-BE49-F238E27FC236}">
                <a16:creationId xmlns="" xmlns:a16="http://schemas.microsoft.com/office/drawing/2014/main" id="{9044FE39-AA2C-4815-9E8C-DD923EDBAE95}"/>
              </a:ext>
            </a:extLst>
          </p:cNvPr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1">
            <a:extLst>
              <a:ext uri="{FF2B5EF4-FFF2-40B4-BE49-F238E27FC236}">
                <a16:creationId xmlns="" xmlns:a16="http://schemas.microsoft.com/office/drawing/2014/main" id="{E1036099-B2AC-494C-8E9F-91DFCFD9B73D}"/>
              </a:ext>
            </a:extLst>
          </p:cNvPr>
          <p:cNvCxnSpPr/>
          <p:nvPr userDrawn="1"/>
        </p:nvCxnSpPr>
        <p:spPr>
          <a:xfrm rot="5400000">
            <a:off x="-103188" y="1243013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4299942"/>
            <a:ext cx="2628590" cy="367200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2" y="4299942"/>
            <a:ext cx="5075797" cy="367200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0743568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silver)">
    <p:bg>
      <p:bgPr>
        <a:gradFill rotWithShape="0">
          <a:gsLst>
            <a:gs pos="0">
              <a:srgbClr val="747474"/>
            </a:gs>
            <a:gs pos="14999">
              <a:srgbClr val="747474"/>
            </a:gs>
            <a:gs pos="50000">
              <a:srgbClr val="D9D9D9"/>
            </a:gs>
            <a:gs pos="100000">
              <a:srgbClr val="747474"/>
            </a:gs>
          </a:gsLst>
          <a:lin ang="12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>
            <a:extLst>
              <a:ext uri="{FF2B5EF4-FFF2-40B4-BE49-F238E27FC236}">
                <a16:creationId xmlns="" xmlns:a16="http://schemas.microsoft.com/office/drawing/2014/main" id="{6D4256FE-592C-4961-9A55-5EA2DA056A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381500"/>
            <a:ext cx="1858963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15">
            <a:extLst>
              <a:ext uri="{FF2B5EF4-FFF2-40B4-BE49-F238E27FC236}">
                <a16:creationId xmlns="" xmlns:a16="http://schemas.microsoft.com/office/drawing/2014/main" id="{90506ABE-EB8F-4B9E-BE82-176DB400283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1D9D92FC-0556-4D67-B451-65CE554D8CA8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FEB712C0-0333-4334-A8DD-C53305F07A3B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9D62943A-9FBA-49E1-8EAE-A337B4601317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Rechteck 21">
              <a:extLst>
                <a:ext uri="{FF2B5EF4-FFF2-40B4-BE49-F238E27FC236}">
                  <a16:creationId xmlns="" xmlns:a16="http://schemas.microsoft.com/office/drawing/2014/main" id="{EF7BF885-41BB-4E57-8B8C-F51FC8FB0E7B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11" name="Gerade Verbindung 24">
            <a:extLst>
              <a:ext uri="{FF2B5EF4-FFF2-40B4-BE49-F238E27FC236}">
                <a16:creationId xmlns="" xmlns:a16="http://schemas.microsoft.com/office/drawing/2014/main" id="{0EACB0D7-7D45-42C3-B6C8-2FD784379131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2" name="Datumsplatzhalter 8">
            <a:extLst>
              <a:ext uri="{FF2B5EF4-FFF2-40B4-BE49-F238E27FC236}">
                <a16:creationId xmlns="" xmlns:a16="http://schemas.microsoft.com/office/drawing/2014/main" id="{692B7792-1980-44BD-8D44-01E752069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="" xmlns:a16="http://schemas.microsoft.com/office/drawing/2014/main" id="{D7BDE361-6C31-4A07-8E62-969C9BC8AE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E5F87A-AE74-4034-ADB8-61D69D535E27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4" name="Fußzeilenplatzhalter 10">
            <a:extLst>
              <a:ext uri="{FF2B5EF4-FFF2-40B4-BE49-F238E27FC236}">
                <a16:creationId xmlns="" xmlns:a16="http://schemas.microsoft.com/office/drawing/2014/main" id="{A5546DBE-E784-400D-A235-8C511EA23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00054746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="" xmlns:a16="http://schemas.microsoft.com/office/drawing/2014/main" id="{09BF9310-F648-4197-AA2E-8D69957324CC}"/>
              </a:ext>
            </a:extLst>
          </p:cNvPr>
          <p:cNvSpPr/>
          <p:nvPr userDrawn="1"/>
        </p:nvSpPr>
        <p:spPr>
          <a:xfrm>
            <a:off x="7596188" y="303213"/>
            <a:ext cx="1260475" cy="5762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5" name="Gruppieren 15">
            <a:extLst>
              <a:ext uri="{FF2B5EF4-FFF2-40B4-BE49-F238E27FC236}">
                <a16:creationId xmlns="" xmlns:a16="http://schemas.microsoft.com/office/drawing/2014/main" id="{290E447C-F251-4FAA-8641-1F8EEB22708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AA741ED7-AB38-4508-898B-5ABEB93D59F2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DDC92660-1960-4417-9B6D-DC05DA17ED1E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7D3D8550-8390-4974-A7F0-C44DEC9F71BD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Rechteck 21">
              <a:extLst>
                <a:ext uri="{FF2B5EF4-FFF2-40B4-BE49-F238E27FC236}">
                  <a16:creationId xmlns="" xmlns:a16="http://schemas.microsoft.com/office/drawing/2014/main" id="{A19349B0-30FE-424B-890D-940F22BA4EFF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11" name="Gerade Verbindung 23">
            <a:extLst>
              <a:ext uri="{FF2B5EF4-FFF2-40B4-BE49-F238E27FC236}">
                <a16:creationId xmlns="" xmlns:a16="http://schemas.microsoft.com/office/drawing/2014/main" id="{A11C7CA8-9B98-4CDD-9C37-A20DB3244D6E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Bild 3">
            <a:extLst>
              <a:ext uri="{FF2B5EF4-FFF2-40B4-BE49-F238E27FC236}">
                <a16:creationId xmlns="" xmlns:a16="http://schemas.microsoft.com/office/drawing/2014/main" id="{10A3ACDF-00EC-4B4F-92D0-DA75934CDA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381500"/>
            <a:ext cx="1858963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3" name="Datumsplatzhalter 8">
            <a:extLst>
              <a:ext uri="{FF2B5EF4-FFF2-40B4-BE49-F238E27FC236}">
                <a16:creationId xmlns="" xmlns:a16="http://schemas.microsoft.com/office/drawing/2014/main" id="{C4AC7841-7E38-4AD4-8001-2D37A290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4" name="Foliennummernplatzhalter 9">
            <a:extLst>
              <a:ext uri="{FF2B5EF4-FFF2-40B4-BE49-F238E27FC236}">
                <a16:creationId xmlns="" xmlns:a16="http://schemas.microsoft.com/office/drawing/2014/main" id="{E86D5E7B-3766-4EE5-B159-BA392D2EE2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A18A46-8C1F-42C2-BD20-D4369A4A7B48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5" name="Fußzeilenplatzhalter 10">
            <a:extLst>
              <a:ext uri="{FF2B5EF4-FFF2-40B4-BE49-F238E27FC236}">
                <a16:creationId xmlns="" xmlns:a16="http://schemas.microsoft.com/office/drawing/2014/main" id="{2DBE60D5-0E08-46A3-AEBE-6B99B3EC12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0322437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" name="Datumsplatzhalter 23">
            <a:extLst>
              <a:ext uri="{FF2B5EF4-FFF2-40B4-BE49-F238E27FC236}">
                <a16:creationId xmlns="" xmlns:a16="http://schemas.microsoft.com/office/drawing/2014/main" id="{34698066-3CDE-4E47-94C1-27552E5FC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5" name="Fußzeilenplatzhalter 24">
            <a:extLst>
              <a:ext uri="{FF2B5EF4-FFF2-40B4-BE49-F238E27FC236}">
                <a16:creationId xmlns="" xmlns:a16="http://schemas.microsoft.com/office/drawing/2014/main" id="{E4A905E6-B2A1-4A5F-BDFC-E7F4CB52A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6" name="Foliennummernplatzhalter 25">
            <a:extLst>
              <a:ext uri="{FF2B5EF4-FFF2-40B4-BE49-F238E27FC236}">
                <a16:creationId xmlns="" xmlns:a16="http://schemas.microsoft.com/office/drawing/2014/main" id="{D9D7448A-A6D0-47EF-9F03-66658EC42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D2A49-BDBF-4261-8AA5-92CDC69043F9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52567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="" xmlns:a16="http://schemas.microsoft.com/office/drawing/2014/main" id="{09AF5A5C-061C-46A4-9A04-CF999B8230AA}"/>
              </a:ext>
            </a:extLst>
          </p:cNvPr>
          <p:cNvSpPr/>
          <p:nvPr userDrawn="1"/>
        </p:nvSpPr>
        <p:spPr>
          <a:xfrm>
            <a:off x="7596188" y="303213"/>
            <a:ext cx="1260475" cy="57626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5" name="Gruppieren 15">
            <a:extLst>
              <a:ext uri="{FF2B5EF4-FFF2-40B4-BE49-F238E27FC236}">
                <a16:creationId xmlns="" xmlns:a16="http://schemas.microsoft.com/office/drawing/2014/main" id="{EA64B820-650A-4A81-BF11-42F7434687C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5143500"/>
            <a:chOff x="0" y="0"/>
            <a:chExt cx="9144000" cy="6858001"/>
          </a:xfrm>
        </p:grpSpPr>
        <p:sp>
          <p:nvSpPr>
            <p:cNvPr id="6" name="Rechteck 18">
              <a:extLst>
                <a:ext uri="{FF2B5EF4-FFF2-40B4-BE49-F238E27FC236}">
                  <a16:creationId xmlns="" xmlns:a16="http://schemas.microsoft.com/office/drawing/2014/main" id="{8858DB9D-0AA7-4BD9-B466-404173344C0B}"/>
                </a:ext>
              </a:extLst>
            </p:cNvPr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9">
              <a:extLst>
                <a:ext uri="{FF2B5EF4-FFF2-40B4-BE49-F238E27FC236}">
                  <a16:creationId xmlns="" xmlns:a16="http://schemas.microsoft.com/office/drawing/2014/main" id="{43E7EC07-24E1-4593-AE2B-7DDC62628AB7}"/>
                </a:ext>
              </a:extLst>
            </p:cNvPr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20">
              <a:extLst>
                <a:ext uri="{FF2B5EF4-FFF2-40B4-BE49-F238E27FC236}">
                  <a16:creationId xmlns="" xmlns:a16="http://schemas.microsoft.com/office/drawing/2014/main" id="{F1E3C8A9-7FBC-409D-B548-9393920ABE92}"/>
                </a:ext>
              </a:extLst>
            </p:cNvPr>
            <p:cNvSpPr/>
            <p:nvPr userDrawn="1"/>
          </p:nvSpPr>
          <p:spPr>
            <a:xfrm>
              <a:off x="0" y="0"/>
              <a:ext cx="179388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Rechteck 21">
              <a:extLst>
                <a:ext uri="{FF2B5EF4-FFF2-40B4-BE49-F238E27FC236}">
                  <a16:creationId xmlns="" xmlns:a16="http://schemas.microsoft.com/office/drawing/2014/main" id="{F16346EB-CF01-44CA-881E-8BA71C833684}"/>
                </a:ext>
              </a:extLst>
            </p:cNvPr>
            <p:cNvSpPr/>
            <p:nvPr userDrawn="1"/>
          </p:nvSpPr>
          <p:spPr>
            <a:xfrm>
              <a:off x="8964613" y="0"/>
              <a:ext cx="179387" cy="685800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11" name="Gerade Verbindung 21">
            <a:extLst>
              <a:ext uri="{FF2B5EF4-FFF2-40B4-BE49-F238E27FC236}">
                <a16:creationId xmlns="" xmlns:a16="http://schemas.microsoft.com/office/drawing/2014/main" id="{3C2F4C46-4740-4903-BCA2-61BD1F2631AE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2" name="Datumsplatzhalter 8">
            <a:extLst>
              <a:ext uri="{FF2B5EF4-FFF2-40B4-BE49-F238E27FC236}">
                <a16:creationId xmlns="" xmlns:a16="http://schemas.microsoft.com/office/drawing/2014/main" id="{B9E20EF5-8FAE-4048-9478-998AA28066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="" xmlns:a16="http://schemas.microsoft.com/office/drawing/2014/main" id="{DA59F9D2-5BAB-45F5-A64D-D548D045F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EB0A61-0C16-42D7-9732-9221FAC47917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4" name="Fußzeilenplatzhalter 10">
            <a:extLst>
              <a:ext uri="{FF2B5EF4-FFF2-40B4-BE49-F238E27FC236}">
                <a16:creationId xmlns="" xmlns:a16="http://schemas.microsoft.com/office/drawing/2014/main" id="{690D5D8F-35C9-406F-8438-F8E3774FF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544108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" name="Datumsplatzhalter 23">
            <a:extLst>
              <a:ext uri="{FF2B5EF4-FFF2-40B4-BE49-F238E27FC236}">
                <a16:creationId xmlns="" xmlns:a16="http://schemas.microsoft.com/office/drawing/2014/main" id="{57487E84-C73F-4CD2-BDC4-5E219C14A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5" name="Fußzeilenplatzhalter 24">
            <a:extLst>
              <a:ext uri="{FF2B5EF4-FFF2-40B4-BE49-F238E27FC236}">
                <a16:creationId xmlns="" xmlns:a16="http://schemas.microsoft.com/office/drawing/2014/main" id="{74CEC990-AAF7-4114-A34E-9B0B8B131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6" name="Foliennummernplatzhalter 25">
            <a:extLst>
              <a:ext uri="{FF2B5EF4-FFF2-40B4-BE49-F238E27FC236}">
                <a16:creationId xmlns="" xmlns:a16="http://schemas.microsoft.com/office/drawing/2014/main" id="{98252E35-5EDE-4000-A981-20FDDB6AE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C2A14-D2AF-4F25-8A01-D37289B0D788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9714674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>
            <a:extLst>
              <a:ext uri="{FF2B5EF4-FFF2-40B4-BE49-F238E27FC236}">
                <a16:creationId xmlns="" xmlns:a16="http://schemas.microsoft.com/office/drawing/2014/main" id="{26521C86-5960-49F1-9BAD-7DA11981B5DD}"/>
              </a:ext>
            </a:extLst>
          </p:cNvPr>
          <p:cNvSpPr/>
          <p:nvPr userDrawn="1"/>
        </p:nvSpPr>
        <p:spPr>
          <a:xfrm>
            <a:off x="7727950" y="381000"/>
            <a:ext cx="1020763" cy="419100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800">
              <a:solidFill>
                <a:srgbClr val="00B0F0"/>
              </a:solidFill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="" xmlns:a16="http://schemas.microsoft.com/office/drawing/2014/main" id="{48FCF407-66F0-4C15-AB26-E55C1AF76D29}"/>
              </a:ext>
            </a:extLst>
          </p:cNvPr>
          <p:cNvCxnSpPr/>
          <p:nvPr userDrawn="1"/>
        </p:nvCxnSpPr>
        <p:spPr>
          <a:xfrm>
            <a:off x="395288" y="4321175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Bild 4">
            <a:extLst>
              <a:ext uri="{FF2B5EF4-FFF2-40B4-BE49-F238E27FC236}">
                <a16:creationId xmlns="" xmlns:a16="http://schemas.microsoft.com/office/drawing/2014/main" id="{5A1F75F3-D058-4EF3-B59D-3D0299560E2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250825" y="4381500"/>
            <a:ext cx="1858963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itelplatzhalter 1">
            <a:extLst>
              <a:ext uri="{FF2B5EF4-FFF2-40B4-BE49-F238E27FC236}">
                <a16:creationId xmlns="" xmlns:a16="http://schemas.microsoft.com/office/drawing/2014/main" id="{963CB3D7-9A7F-4FCD-9CFA-8AADC22185F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95288" y="303213"/>
            <a:ext cx="83534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52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itelmasterformat durch Klicken bearbeiten</a:t>
            </a:r>
          </a:p>
        </p:txBody>
      </p:sp>
      <p:sp>
        <p:nvSpPr>
          <p:cNvPr id="1030" name="Textplatzhalter 2">
            <a:extLst>
              <a:ext uri="{FF2B5EF4-FFF2-40B4-BE49-F238E27FC236}">
                <a16:creationId xmlns="" xmlns:a16="http://schemas.microsoft.com/office/drawing/2014/main" id="{D43893BB-6E86-4CF2-A023-02A3961BDB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95288" y="1343025"/>
            <a:ext cx="8353425" cy="281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extmasterformate durch Klicken bearbeiten</a:t>
            </a:r>
          </a:p>
          <a:p>
            <a:pPr lvl="1"/>
            <a:r>
              <a:rPr lang="en-US" altLang="en-US"/>
              <a:t>Zweite Ebene</a:t>
            </a:r>
          </a:p>
          <a:p>
            <a:pPr lvl="2"/>
            <a:r>
              <a:rPr lang="en-US" altLang="en-US"/>
              <a:t>Dritte Ebene</a:t>
            </a:r>
          </a:p>
          <a:p>
            <a:pPr lvl="3"/>
            <a:r>
              <a:rPr lang="en-US" altLang="en-US"/>
              <a:t>Vierte Ebene</a:t>
            </a:r>
          </a:p>
          <a:p>
            <a:pPr lvl="4"/>
            <a:r>
              <a:rPr lang="en-US" altLang="en-US"/>
              <a:t>Fünfte Ebene</a:t>
            </a:r>
          </a:p>
        </p:txBody>
      </p:sp>
      <p:sp>
        <p:nvSpPr>
          <p:cNvPr id="24" name="Datumsplatzhalter 23">
            <a:extLst>
              <a:ext uri="{FF2B5EF4-FFF2-40B4-BE49-F238E27FC236}">
                <a16:creationId xmlns="" xmlns:a16="http://schemas.microsoft.com/office/drawing/2014/main" id="{7031E502-2AE7-4758-84F9-EC0C2E20FF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50000" y="4551363"/>
            <a:ext cx="2001838" cy="1127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25" name="Fußzeilenplatzhalter 24">
            <a:extLst>
              <a:ext uri="{FF2B5EF4-FFF2-40B4-BE49-F238E27FC236}">
                <a16:creationId xmlns="" xmlns:a16="http://schemas.microsoft.com/office/drawing/2014/main" id="{C68849A0-4208-484C-AFA9-57CE184C31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0000" y="4665663"/>
            <a:ext cx="2001838" cy="11271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26" name="Foliennummernplatzhalter 25">
            <a:extLst>
              <a:ext uri="{FF2B5EF4-FFF2-40B4-BE49-F238E27FC236}">
                <a16:creationId xmlns="" xmlns:a16="http://schemas.microsoft.com/office/drawing/2014/main" id="{F239CC08-F250-404F-B04D-B99F9E6BF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8350" y="4665663"/>
            <a:ext cx="360363" cy="112712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 b="1"/>
            </a:lvl1pPr>
          </a:lstStyle>
          <a:p>
            <a:pPr>
              <a:defRPr/>
            </a:pPr>
            <a:fld id="{979E50C9-FF34-4449-BDAA-91D1FD8C146A}" type="slidenum">
              <a:rPr lang="en-US" altLang="en-US"/>
              <a:pPr>
                <a:defRPr/>
              </a:pPr>
              <a:t>‹Nr.›</a:t>
            </a:fld>
            <a:endParaRPr lang="en-US" altLang="en-US"/>
          </a:p>
        </p:txBody>
      </p:sp>
      <p:sp>
        <p:nvSpPr>
          <p:cNvPr id="1034" name="Text Box 23">
            <a:extLst>
              <a:ext uri="{FF2B5EF4-FFF2-40B4-BE49-F238E27FC236}">
                <a16:creationId xmlns="" xmlns:a16="http://schemas.microsoft.com/office/drawing/2014/main" id="{323FB155-4504-4294-B480-CD576A53F732}"/>
              </a:ext>
            </a:extLst>
          </p:cNvPr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2025" y="4665663"/>
            <a:ext cx="27257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  <a:defRPr/>
            </a:pPr>
            <a:r>
              <a:rPr lang="de-DE" altLang="en-US" sz="700">
                <a:solidFill>
                  <a:srgbClr val="000000"/>
                </a:solidFill>
              </a:rPr>
              <a:t>Internal</a:t>
            </a:r>
          </a:p>
        </p:txBody>
      </p:sp>
      <p:sp>
        <p:nvSpPr>
          <p:cNvPr id="1035" name="Text Box 23">
            <a:extLst>
              <a:ext uri="{FF2B5EF4-FFF2-40B4-BE49-F238E27FC236}">
                <a16:creationId xmlns="" xmlns:a16="http://schemas.microsoft.com/office/drawing/2014/main" id="{C3B7CD0C-62C1-4AB1-B549-FA5BC89CCA7D}"/>
              </a:ext>
            </a:extLst>
          </p:cNvPr>
          <p:cNvSpPr txBox="1"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3502025" y="4560888"/>
            <a:ext cx="2725738" cy="10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8953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  <a:defRPr/>
            </a:pPr>
            <a:r>
              <a:rPr lang="de-DE" altLang="en-US" sz="700" b="1">
                <a:solidFill>
                  <a:srgbClr val="000000"/>
                </a:solidFill>
              </a:rPr>
              <a:t>Corporate Communications</a:t>
            </a:r>
          </a:p>
        </p:txBody>
      </p:sp>
      <p:sp>
        <p:nvSpPr>
          <p:cNvPr id="4" name="empower - DO NOT DELETE!!!">
            <a:extLst>
              <a:ext uri="{FF2B5EF4-FFF2-40B4-BE49-F238E27FC236}">
                <a16:creationId xmlns="" xmlns:a16="http://schemas.microsoft.com/office/drawing/2014/main" id="{B4114ECA-F51C-4784-B774-81EB9326579F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>
            <a:extLst>
              <a:ext uri="{FF2B5EF4-FFF2-40B4-BE49-F238E27FC236}">
                <a16:creationId xmlns="" xmlns:a16="http://schemas.microsoft.com/office/drawing/2014/main" id="{3F7ADF0C-1056-4238-9FA2-EDF549CD4748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799" r:id="rId2"/>
    <p:sldLayoutId id="2147483810" r:id="rId3"/>
    <p:sldLayoutId id="2147483811" r:id="rId4"/>
    <p:sldLayoutId id="2147483812" r:id="rId5"/>
    <p:sldLayoutId id="2147483813" r:id="rId6"/>
    <p:sldLayoutId id="2147483800" r:id="rId7"/>
    <p:sldLayoutId id="2147483814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15" r:id="rId17"/>
    <p:sldLayoutId id="2147483816" r:id="rId18"/>
    <p:sldLayoutId id="2147483817" r:id="rId19"/>
    <p:sldLayoutId id="2147483818" r:id="rId20"/>
  </p:sldLayoutIdLst>
  <p:transition>
    <p:fade/>
  </p:transition>
  <p:hf hdr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2.svg"/><Relationship Id="rId7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svg"/><Relationship Id="rId5" Type="http://schemas.openxmlformats.org/officeDocument/2006/relationships/image" Target="../media/image12.png"/><Relationship Id="rId10" Type="http://schemas.openxmlformats.org/officeDocument/2006/relationships/image" Target="../media/image23.JPG"/><Relationship Id="rId4" Type="http://schemas.openxmlformats.org/officeDocument/2006/relationships/image" Target="../media/image19.png"/><Relationship Id="rId9" Type="http://schemas.openxmlformats.org/officeDocument/2006/relationships/image" Target="../media/image22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2.svg"/><Relationship Id="rId7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svg"/><Relationship Id="rId5" Type="http://schemas.openxmlformats.org/officeDocument/2006/relationships/image" Target="../media/image12.png"/><Relationship Id="rId10" Type="http://schemas.openxmlformats.org/officeDocument/2006/relationships/image" Target="../media/image23.JPG"/><Relationship Id="rId4" Type="http://schemas.openxmlformats.org/officeDocument/2006/relationships/image" Target="../media/image19.png"/><Relationship Id="rId9" Type="http://schemas.openxmlformats.org/officeDocument/2006/relationships/image" Target="../media/image2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2.svg"/><Relationship Id="rId7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svg"/><Relationship Id="rId5" Type="http://schemas.openxmlformats.org/officeDocument/2006/relationships/image" Target="../media/image12.png"/><Relationship Id="rId10" Type="http://schemas.openxmlformats.org/officeDocument/2006/relationships/image" Target="../media/image23.JPG"/><Relationship Id="rId4" Type="http://schemas.openxmlformats.org/officeDocument/2006/relationships/image" Target="../media/image19.png"/><Relationship Id="rId9" Type="http://schemas.openxmlformats.org/officeDocument/2006/relationships/image" Target="../media/image22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image" Target="../media/image12.svg"/><Relationship Id="rId7" Type="http://schemas.openxmlformats.org/officeDocument/2006/relationships/image" Target="../media/image26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svg"/><Relationship Id="rId5" Type="http://schemas.openxmlformats.org/officeDocument/2006/relationships/image" Target="../media/image12.png"/><Relationship Id="rId4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2.png"/><Relationship Id="rId7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1.png"/><Relationship Id="rId7" Type="http://schemas.openxmlformats.org/officeDocument/2006/relationships/image" Target="../media/image14.svg"/><Relationship Id="rId2" Type="http://schemas.openxmlformats.org/officeDocument/2006/relationships/hyperlink" Target="https://support.snapchat.com/delete-account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openxmlformats.org/officeDocument/2006/relationships/image" Target="../media/image16.JPG"/><Relationship Id="rId4" Type="http://schemas.openxmlformats.org/officeDocument/2006/relationships/image" Target="../media/image12.svg"/><Relationship Id="rId9" Type="http://schemas.openxmlformats.org/officeDocument/2006/relationships/image" Target="../media/image18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3.png"/><Relationship Id="rId7" Type="http://schemas.openxmlformats.org/officeDocument/2006/relationships/image" Target="../media/image12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4.svg"/><Relationship Id="rId4" Type="http://schemas.openxmlformats.org/officeDocument/2006/relationships/image" Target="../media/image12.png"/><Relationship Id="rId9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12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4.svg"/><Relationship Id="rId10" Type="http://schemas.openxmlformats.org/officeDocument/2006/relationships/image" Target="../media/image38.png"/><Relationship Id="rId4" Type="http://schemas.openxmlformats.org/officeDocument/2006/relationships/image" Target="../media/image12.png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2.png"/><Relationship Id="rId7" Type="http://schemas.openxmlformats.org/officeDocument/2006/relationships/image" Target="../media/image12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35.png"/><Relationship Id="rId10" Type="http://schemas.openxmlformats.org/officeDocument/2006/relationships/image" Target="../media/image28.png"/><Relationship Id="rId4" Type="http://schemas.openxmlformats.org/officeDocument/2006/relationships/image" Target="../media/image14.svg"/><Relationship Id="rId9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2.png"/><Relationship Id="rId7" Type="http://schemas.openxmlformats.org/officeDocument/2006/relationships/image" Target="../media/image1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35.png"/><Relationship Id="rId10" Type="http://schemas.openxmlformats.org/officeDocument/2006/relationships/image" Target="../media/image42.png"/><Relationship Id="rId4" Type="http://schemas.openxmlformats.org/officeDocument/2006/relationships/image" Target="../media/image14.svg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JPG"/><Relationship Id="rId7" Type="http://schemas.openxmlformats.org/officeDocument/2006/relationships/image" Target="../media/image12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1.png"/><Relationship Id="rId7" Type="http://schemas.openxmlformats.org/officeDocument/2006/relationships/image" Target="../media/image18.JPG"/><Relationship Id="rId2" Type="http://schemas.openxmlformats.org/officeDocument/2006/relationships/hyperlink" Target="https://support.snapchat.com/delete-account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12.svg"/><Relationship Id="rId9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>
            <a:extLst>
              <a:ext uri="{FF2B5EF4-FFF2-40B4-BE49-F238E27FC236}">
                <a16:creationId xmlns="" xmlns:a16="http://schemas.microsoft.com/office/drawing/2014/main" id="{67A00712-E307-4AB0-B7D1-FF5B27BA496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Verwendung von Social-Media-Apps</a:t>
            </a:r>
            <a:endParaRPr lang="de-DE" dirty="0"/>
          </a:p>
        </p:txBody>
      </p:sp>
      <p:sp>
        <p:nvSpPr>
          <p:cNvPr id="13315" name="Untertitel 2">
            <a:extLst>
              <a:ext uri="{FF2B5EF4-FFF2-40B4-BE49-F238E27FC236}">
                <a16:creationId xmlns="" xmlns:a16="http://schemas.microsoft.com/office/drawing/2014/main" id="{3CC8207C-26ED-4EC3-88A5-E6B969E1BA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spcAft>
                <a:spcPct val="0"/>
              </a:spcAft>
              <a:buClrTx/>
            </a:pPr>
            <a:r>
              <a:rPr lang="de-DE" altLang="en-US" dirty="0">
                <a:solidFill>
                  <a:srgbClr val="000000"/>
                </a:solidFill>
              </a:rPr>
              <a:t>Benutzerhinwei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837D17DD-3217-4E59-90DC-CDD9667069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77EC073A-B0A5-49D8-A39B-EF41880800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iOS</a:t>
            </a:r>
            <a:r>
              <a:rPr lang="de-DE" sz="2100" dirty="0"/>
              <a:t> 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tx1"/>
                </a:solidFill>
              </a:rPr>
              <a:t>Facebook Messenger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0</a:t>
            </a:fld>
            <a:endParaRPr lang="de-DE" altLang="en-US"/>
          </a:p>
        </p:txBody>
      </p:sp>
      <p:sp>
        <p:nvSpPr>
          <p:cNvPr id="24" name="Content Placeholder 1">
            <a:extLst>
              <a:ext uri="{FF2B5EF4-FFF2-40B4-BE49-F238E27FC236}">
                <a16:creationId xmlns="" xmlns:a16="http://schemas.microsoft.com/office/drawing/2014/main" id="{22782D3F-A7A5-4B78-B7DE-895BBA30DEA8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25" name="Graphic 24" descr="Arrow: Slight curve">
            <a:extLst>
              <a:ext uri="{FF2B5EF4-FFF2-40B4-BE49-F238E27FC236}">
                <a16:creationId xmlns="" xmlns:a16="http://schemas.microsoft.com/office/drawing/2014/main" id="{7574F155-90D5-4DE5-9583-4EBB9D75D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469" y="1877640"/>
            <a:ext cx="369428" cy="369428"/>
          </a:xfrm>
          <a:prstGeom prst="rect">
            <a:avLst/>
          </a:prstGeom>
        </p:spPr>
      </p:pic>
      <p:pic>
        <p:nvPicPr>
          <p:cNvPr id="26" name="Graphic 25" descr="Arrow: Slight curve">
            <a:extLst>
              <a:ext uri="{FF2B5EF4-FFF2-40B4-BE49-F238E27FC236}">
                <a16:creationId xmlns="" xmlns:a16="http://schemas.microsoft.com/office/drawing/2014/main" id="{A1467AA4-5764-4DCF-9C21-BAA86EB25B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6872" y="1920328"/>
            <a:ext cx="369428" cy="369428"/>
          </a:xfrm>
          <a:prstGeom prst="rect">
            <a:avLst/>
          </a:prstGeom>
        </p:spPr>
      </p:pic>
      <p:pic>
        <p:nvPicPr>
          <p:cNvPr id="27" name="Graphic 26" descr="Arrow: Slight curve">
            <a:extLst>
              <a:ext uri="{FF2B5EF4-FFF2-40B4-BE49-F238E27FC236}">
                <a16:creationId xmlns="" xmlns:a16="http://schemas.microsoft.com/office/drawing/2014/main" id="{E3D2A112-E6FE-4E2A-86BF-A8C0EE1B60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65927" y="1913371"/>
            <a:ext cx="369428" cy="369428"/>
          </a:xfrm>
          <a:prstGeom prst="rect">
            <a:avLst/>
          </a:prstGeom>
        </p:spPr>
      </p:pic>
      <p:pic>
        <p:nvPicPr>
          <p:cNvPr id="28" name="Graphic 27" descr="Arrow: Slight curve">
            <a:extLst>
              <a:ext uri="{FF2B5EF4-FFF2-40B4-BE49-F238E27FC236}">
                <a16:creationId xmlns="" xmlns:a16="http://schemas.microsoft.com/office/drawing/2014/main" id="{FE93F0C7-9433-4F6A-9790-C1CE7764F7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32525" y="1933974"/>
            <a:ext cx="369428" cy="36942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6B8259B3-D186-4E3C-9B35-BA4533A905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6977" y="1962387"/>
            <a:ext cx="940951" cy="239336"/>
          </a:xfrm>
          <a:prstGeom prst="rect">
            <a:avLst/>
          </a:prstGeom>
        </p:spPr>
      </p:pic>
      <p:pic>
        <p:nvPicPr>
          <p:cNvPr id="30" name="Graphic 29" descr="Right Pointing Backhand Index ">
            <a:extLst>
              <a:ext uri="{FF2B5EF4-FFF2-40B4-BE49-F238E27FC236}">
                <a16:creationId xmlns="" xmlns:a16="http://schemas.microsoft.com/office/drawing/2014/main" id="{7F114637-136B-46E5-8E88-D6AED98E4F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1908755" y="2059158"/>
            <a:ext cx="478876" cy="47887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BB3CE025-8482-4AD5-8727-6DE27D621B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7103" y="1687596"/>
            <a:ext cx="1650934" cy="727568"/>
          </a:xfrm>
          <a:prstGeom prst="rect">
            <a:avLst/>
          </a:prstGeom>
        </p:spPr>
      </p:pic>
      <p:pic>
        <p:nvPicPr>
          <p:cNvPr id="32" name="Graphic 31" descr="Right Pointing Backhand Index ">
            <a:extLst>
              <a:ext uri="{FF2B5EF4-FFF2-40B4-BE49-F238E27FC236}">
                <a16:creationId xmlns="" xmlns:a16="http://schemas.microsoft.com/office/drawing/2014/main" id="{72AC3128-06E0-4B01-BB0C-2AA8D2B75E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3661659" y="2179169"/>
            <a:ext cx="478876" cy="47887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0964195E-EB36-4C08-9D04-D38795E8ED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1417" y="1876021"/>
            <a:ext cx="401387" cy="409057"/>
          </a:xfrm>
          <a:prstGeom prst="rect">
            <a:avLst/>
          </a:prstGeom>
        </p:spPr>
      </p:pic>
      <p:pic>
        <p:nvPicPr>
          <p:cNvPr id="34" name="Graphic 33" descr="Right Pointing Backhand Index ">
            <a:extLst>
              <a:ext uri="{FF2B5EF4-FFF2-40B4-BE49-F238E27FC236}">
                <a16:creationId xmlns="" xmlns:a16="http://schemas.microsoft.com/office/drawing/2014/main" id="{98E862E3-E90C-4C2D-9E93-E00F061CAC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531605" y="2031088"/>
            <a:ext cx="478876" cy="4788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7DAD834E-BCAB-45AD-AE66-213E31EFBC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61469" y="1195621"/>
            <a:ext cx="1500188" cy="266833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FFBE3AD0-387E-4726-B85F-9DFBE1CB33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04410" y="1201756"/>
            <a:ext cx="1500188" cy="2668334"/>
          </a:xfrm>
          <a:prstGeom prst="rect">
            <a:avLst/>
          </a:prstGeom>
        </p:spPr>
      </p:pic>
      <p:pic>
        <p:nvPicPr>
          <p:cNvPr id="37" name="Graphic 36" descr="Right Pointing Backhand Index ">
            <a:extLst>
              <a:ext uri="{FF2B5EF4-FFF2-40B4-BE49-F238E27FC236}">
                <a16:creationId xmlns="" xmlns:a16="http://schemas.microsoft.com/office/drawing/2014/main" id="{BBFA80EF-E7A4-4976-A805-29EDAFCB90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6303789" y="1953799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333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iOS</a:t>
            </a:r>
            <a:r>
              <a:rPr lang="de-DE" sz="2100" dirty="0"/>
              <a:t/>
            </a:r>
            <a:br>
              <a:rPr lang="de-DE" sz="2100" dirty="0"/>
            </a:br>
            <a:r>
              <a:rPr lang="de-DE" b="0" dirty="0">
                <a:solidFill>
                  <a:schemeClr val="tx1"/>
                </a:solidFill>
              </a:rPr>
              <a:t>LinkedIn</a:t>
            </a:r>
            <a:r>
              <a:rPr lang="de-DE" dirty="0"/>
              <a:t> </a:t>
            </a:r>
            <a:r>
              <a:rPr dirty="0"/>
              <a:t/>
            </a:r>
            <a:br>
              <a:rPr dirty="0"/>
            </a:b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1</a:t>
            </a:fld>
            <a:endParaRPr lang="de-DE" altLang="en-US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DFBF5695-ECA1-4E90-A145-0587F83BCBC5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6" name="Content Placeholder 1">
            <a:extLst>
              <a:ext uri="{FF2B5EF4-FFF2-40B4-BE49-F238E27FC236}">
                <a16:creationId xmlns="" xmlns:a16="http://schemas.microsoft.com/office/drawing/2014/main" id="{5AE80D4F-71F1-4A72-878C-37A503261F59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27" name="Content Placeholder 1">
            <a:extLst>
              <a:ext uri="{FF2B5EF4-FFF2-40B4-BE49-F238E27FC236}">
                <a16:creationId xmlns="" xmlns:a16="http://schemas.microsoft.com/office/drawing/2014/main" id="{2F6DD05C-DE57-4482-86DB-7605CB86C56C}"/>
              </a:ext>
            </a:extLst>
          </p:cNvPr>
          <p:cNvSpPr txBox="1">
            <a:spLocks/>
          </p:cNvSpPr>
          <p:nvPr/>
        </p:nvSpPr>
        <p:spPr>
          <a:xfrm>
            <a:off x="395288" y="1236965"/>
            <a:ext cx="8415820" cy="2919111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28" name="Graphic 27" descr="Arrow: Slight curve">
            <a:extLst>
              <a:ext uri="{FF2B5EF4-FFF2-40B4-BE49-F238E27FC236}">
                <a16:creationId xmlns="" xmlns:a16="http://schemas.microsoft.com/office/drawing/2014/main" id="{5313C6F7-3EFC-493C-869E-CB15DE512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469" y="1877640"/>
            <a:ext cx="369428" cy="369428"/>
          </a:xfrm>
          <a:prstGeom prst="rect">
            <a:avLst/>
          </a:prstGeom>
        </p:spPr>
      </p:pic>
      <p:pic>
        <p:nvPicPr>
          <p:cNvPr id="29" name="Graphic 28" descr="Arrow: Slight curve">
            <a:extLst>
              <a:ext uri="{FF2B5EF4-FFF2-40B4-BE49-F238E27FC236}">
                <a16:creationId xmlns="" xmlns:a16="http://schemas.microsoft.com/office/drawing/2014/main" id="{37A672F1-EEBF-469A-85A8-EBE8EB084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6872" y="1920328"/>
            <a:ext cx="369428" cy="369428"/>
          </a:xfrm>
          <a:prstGeom prst="rect">
            <a:avLst/>
          </a:prstGeom>
        </p:spPr>
      </p:pic>
      <p:pic>
        <p:nvPicPr>
          <p:cNvPr id="30" name="Graphic 29" descr="Arrow: Slight curve">
            <a:extLst>
              <a:ext uri="{FF2B5EF4-FFF2-40B4-BE49-F238E27FC236}">
                <a16:creationId xmlns="" xmlns:a16="http://schemas.microsoft.com/office/drawing/2014/main" id="{D67D0B17-730C-4C09-8DB9-375A998E85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65927" y="1913371"/>
            <a:ext cx="369428" cy="369428"/>
          </a:xfrm>
          <a:prstGeom prst="rect">
            <a:avLst/>
          </a:prstGeom>
        </p:spPr>
      </p:pic>
      <p:pic>
        <p:nvPicPr>
          <p:cNvPr id="31" name="Graphic 30" descr="Arrow: Slight curve">
            <a:extLst>
              <a:ext uri="{FF2B5EF4-FFF2-40B4-BE49-F238E27FC236}">
                <a16:creationId xmlns="" xmlns:a16="http://schemas.microsoft.com/office/drawing/2014/main" id="{98341442-C026-4FEB-9273-B483977EB0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74020" y="2030677"/>
            <a:ext cx="369428" cy="36942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EE8A096E-89F2-4FD3-A9F9-30BB5E1850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6977" y="1962387"/>
            <a:ext cx="940951" cy="239336"/>
          </a:xfrm>
          <a:prstGeom prst="rect">
            <a:avLst/>
          </a:prstGeom>
        </p:spPr>
      </p:pic>
      <p:pic>
        <p:nvPicPr>
          <p:cNvPr id="33" name="Graphic 32" descr="Right Pointing Backhand Index ">
            <a:extLst>
              <a:ext uri="{FF2B5EF4-FFF2-40B4-BE49-F238E27FC236}">
                <a16:creationId xmlns="" xmlns:a16="http://schemas.microsoft.com/office/drawing/2014/main" id="{F7E883F2-78C8-4E9A-917F-1BB34FDB50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1908755" y="2059158"/>
            <a:ext cx="478876" cy="47887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20539EE2-FC57-4973-BC8D-9BC7974CB7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7043" y="1773167"/>
            <a:ext cx="1650934" cy="727568"/>
          </a:xfrm>
          <a:prstGeom prst="rect">
            <a:avLst/>
          </a:prstGeom>
        </p:spPr>
      </p:pic>
      <p:pic>
        <p:nvPicPr>
          <p:cNvPr id="35" name="Graphic 34" descr="Right Pointing Backhand Index ">
            <a:extLst>
              <a:ext uri="{FF2B5EF4-FFF2-40B4-BE49-F238E27FC236}">
                <a16:creationId xmlns="" xmlns:a16="http://schemas.microsoft.com/office/drawing/2014/main" id="{06E9E8B2-5BB1-49EE-9F3F-C90116DEAB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3448972" y="2261296"/>
            <a:ext cx="478876" cy="47887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C810E946-D9D7-49A0-8476-1B0E063FFC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604" y="1877528"/>
            <a:ext cx="401387" cy="409057"/>
          </a:xfrm>
          <a:prstGeom prst="rect">
            <a:avLst/>
          </a:prstGeom>
        </p:spPr>
      </p:pic>
      <p:pic>
        <p:nvPicPr>
          <p:cNvPr id="37" name="Graphic 36" descr="Right Pointing Backhand Index ">
            <a:extLst>
              <a:ext uri="{FF2B5EF4-FFF2-40B4-BE49-F238E27FC236}">
                <a16:creationId xmlns="" xmlns:a16="http://schemas.microsoft.com/office/drawing/2014/main" id="{CE126956-60C9-4952-865D-A35334A146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531605" y="2031088"/>
            <a:ext cx="478876" cy="4788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="" xmlns:a16="http://schemas.microsoft.com/office/drawing/2014/main" id="{195D79A2-05F2-418F-85CC-0CDD70E63F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43463" y="1134760"/>
            <a:ext cx="1500188" cy="26683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62E0AA2F-82B8-4F43-BFD0-2E6DB01417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48955" y="1166567"/>
            <a:ext cx="1500188" cy="2668334"/>
          </a:xfrm>
          <a:prstGeom prst="rect">
            <a:avLst/>
          </a:prstGeom>
        </p:spPr>
      </p:pic>
      <p:pic>
        <p:nvPicPr>
          <p:cNvPr id="40" name="Graphic 39" descr="Right Pointing Backhand Index ">
            <a:extLst>
              <a:ext uri="{FF2B5EF4-FFF2-40B4-BE49-F238E27FC236}">
                <a16:creationId xmlns="" xmlns:a16="http://schemas.microsoft.com/office/drawing/2014/main" id="{B629C6C5-49B9-4FE9-B05D-190F8FA0EB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6234236" y="2270018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812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iOS</a:t>
            </a:r>
            <a:r>
              <a:rPr lang="de-DE" sz="2100" dirty="0"/>
              <a:t/>
            </a:r>
            <a:br>
              <a:rPr lang="de-DE" sz="2100" dirty="0"/>
            </a:br>
            <a:r>
              <a:rPr lang="de-DE" b="0" dirty="0">
                <a:solidFill>
                  <a:schemeClr val="tx1"/>
                </a:solidFill>
              </a:rPr>
              <a:t>Instagram</a:t>
            </a:r>
            <a:endParaRPr lang="de-DE" sz="2100" b="0" dirty="0">
              <a:solidFill>
                <a:schemeClr val="dk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2</a:t>
            </a:fld>
            <a:endParaRPr lang="de-DE" altLang="en-US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F2D7E2F-8817-42E9-9B31-6B5C1B56EA24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7" name="Content Placeholder 1">
            <a:extLst>
              <a:ext uri="{FF2B5EF4-FFF2-40B4-BE49-F238E27FC236}">
                <a16:creationId xmlns="" xmlns:a16="http://schemas.microsoft.com/office/drawing/2014/main" id="{1AB88012-0ED7-4399-8908-F10EC9D2C584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sp>
        <p:nvSpPr>
          <p:cNvPr id="28" name="Content Placeholder 1">
            <a:extLst>
              <a:ext uri="{FF2B5EF4-FFF2-40B4-BE49-F238E27FC236}">
                <a16:creationId xmlns="" xmlns:a16="http://schemas.microsoft.com/office/drawing/2014/main" id="{C4BBA60A-1495-446B-A219-D38EF70F0689}"/>
              </a:ext>
            </a:extLst>
          </p:cNvPr>
          <p:cNvSpPr txBox="1">
            <a:spLocks/>
          </p:cNvSpPr>
          <p:nvPr/>
        </p:nvSpPr>
        <p:spPr>
          <a:xfrm>
            <a:off x="395288" y="1236965"/>
            <a:ext cx="8415820" cy="2919111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29" name="Graphic 28" descr="Arrow: Slight curve">
            <a:extLst>
              <a:ext uri="{FF2B5EF4-FFF2-40B4-BE49-F238E27FC236}">
                <a16:creationId xmlns="" xmlns:a16="http://schemas.microsoft.com/office/drawing/2014/main" id="{7D30000E-A445-4FFE-A552-B13FFD794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469" y="1877640"/>
            <a:ext cx="369428" cy="369428"/>
          </a:xfrm>
          <a:prstGeom prst="rect">
            <a:avLst/>
          </a:prstGeom>
        </p:spPr>
      </p:pic>
      <p:pic>
        <p:nvPicPr>
          <p:cNvPr id="30" name="Graphic 29" descr="Arrow: Slight curve">
            <a:extLst>
              <a:ext uri="{FF2B5EF4-FFF2-40B4-BE49-F238E27FC236}">
                <a16:creationId xmlns="" xmlns:a16="http://schemas.microsoft.com/office/drawing/2014/main" id="{FFE85481-92EC-40E3-B8EA-1C1CC23744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6872" y="1920328"/>
            <a:ext cx="369428" cy="369428"/>
          </a:xfrm>
          <a:prstGeom prst="rect">
            <a:avLst/>
          </a:prstGeom>
        </p:spPr>
      </p:pic>
      <p:pic>
        <p:nvPicPr>
          <p:cNvPr id="31" name="Graphic 30" descr="Arrow: Slight curve">
            <a:extLst>
              <a:ext uri="{FF2B5EF4-FFF2-40B4-BE49-F238E27FC236}">
                <a16:creationId xmlns="" xmlns:a16="http://schemas.microsoft.com/office/drawing/2014/main" id="{ED9E9E09-FBF2-4090-8849-0BA537BB6A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65927" y="1913371"/>
            <a:ext cx="369428" cy="369428"/>
          </a:xfrm>
          <a:prstGeom prst="rect">
            <a:avLst/>
          </a:prstGeom>
        </p:spPr>
      </p:pic>
      <p:pic>
        <p:nvPicPr>
          <p:cNvPr id="32" name="Graphic 31" descr="Arrow: Slight curve">
            <a:extLst>
              <a:ext uri="{FF2B5EF4-FFF2-40B4-BE49-F238E27FC236}">
                <a16:creationId xmlns="" xmlns:a16="http://schemas.microsoft.com/office/drawing/2014/main" id="{2FCCC236-60EC-411D-95D1-620DF7D428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74020" y="2030677"/>
            <a:ext cx="369428" cy="36942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4F0CC131-6328-402F-A490-F95C98F870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6977" y="1962387"/>
            <a:ext cx="940951" cy="239336"/>
          </a:xfrm>
          <a:prstGeom prst="rect">
            <a:avLst/>
          </a:prstGeom>
        </p:spPr>
      </p:pic>
      <p:pic>
        <p:nvPicPr>
          <p:cNvPr id="34" name="Graphic 33" descr="Right Pointing Backhand Index ">
            <a:extLst>
              <a:ext uri="{FF2B5EF4-FFF2-40B4-BE49-F238E27FC236}">
                <a16:creationId xmlns="" xmlns:a16="http://schemas.microsoft.com/office/drawing/2014/main" id="{C591F77F-CC3E-42C3-AB83-A5F92A16E1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1908755" y="2059158"/>
            <a:ext cx="478876" cy="4788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EF754C7F-CBA4-4FD9-B7B2-ADC27C7BD0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7043" y="1773167"/>
            <a:ext cx="1650934" cy="727568"/>
          </a:xfrm>
          <a:prstGeom prst="rect">
            <a:avLst/>
          </a:prstGeom>
        </p:spPr>
      </p:pic>
      <p:pic>
        <p:nvPicPr>
          <p:cNvPr id="36" name="Graphic 35" descr="Right Pointing Backhand Index ">
            <a:extLst>
              <a:ext uri="{FF2B5EF4-FFF2-40B4-BE49-F238E27FC236}">
                <a16:creationId xmlns="" xmlns:a16="http://schemas.microsoft.com/office/drawing/2014/main" id="{7992F42A-E594-40CC-AC81-33389AA430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3448972" y="2261296"/>
            <a:ext cx="478876" cy="4788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4132B624-192A-4B83-AC1D-59283F5CAB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604" y="1877528"/>
            <a:ext cx="401387" cy="409057"/>
          </a:xfrm>
          <a:prstGeom prst="rect">
            <a:avLst/>
          </a:prstGeom>
        </p:spPr>
      </p:pic>
      <p:pic>
        <p:nvPicPr>
          <p:cNvPr id="38" name="Graphic 37" descr="Right Pointing Backhand Index ">
            <a:extLst>
              <a:ext uri="{FF2B5EF4-FFF2-40B4-BE49-F238E27FC236}">
                <a16:creationId xmlns="" xmlns:a16="http://schemas.microsoft.com/office/drawing/2014/main" id="{5E828CCA-A03C-4793-9DEE-6077AE9210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531605" y="2031088"/>
            <a:ext cx="478876" cy="47887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1A2155C0-7874-4E3F-9E18-DBDCAEA68E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43463" y="1134760"/>
            <a:ext cx="1500188" cy="266833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="" xmlns:a16="http://schemas.microsoft.com/office/drawing/2014/main" id="{E5C44FB3-B74C-4FCD-BCE8-20243450FF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48955" y="1166567"/>
            <a:ext cx="1500188" cy="2668334"/>
          </a:xfrm>
          <a:prstGeom prst="rect">
            <a:avLst/>
          </a:prstGeom>
        </p:spPr>
      </p:pic>
      <p:pic>
        <p:nvPicPr>
          <p:cNvPr id="41" name="Graphic 40" descr="Right Pointing Backhand Index ">
            <a:extLst>
              <a:ext uri="{FF2B5EF4-FFF2-40B4-BE49-F238E27FC236}">
                <a16:creationId xmlns="" xmlns:a16="http://schemas.microsoft.com/office/drawing/2014/main" id="{6B26620A-11EE-4CB2-B7F3-DEF861A04D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6260714" y="1560962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469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EC63C56-4AC5-4382-90A0-30D13A685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isungen für mobile Geräte mit dem</a:t>
            </a:r>
            <a:br>
              <a:rPr lang="de-DE" dirty="0"/>
            </a:br>
            <a:r>
              <a:rPr lang="de-DE" dirty="0"/>
              <a:t>Betriebssystem Android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54A53A7-AA88-4B17-8D35-D697324A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CC8F66E-92D8-4281-AE4D-08481317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6BA14D5-53A7-43EB-A750-D2A772074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3</a:t>
            </a:fld>
            <a:endParaRPr lang="de-DE" altLang="en-US"/>
          </a:p>
        </p:txBody>
      </p:sp>
      <p:cxnSp>
        <p:nvCxnSpPr>
          <p:cNvPr id="31" name="Gerade Verbindung 87">
            <a:extLst>
              <a:ext uri="{FF2B5EF4-FFF2-40B4-BE49-F238E27FC236}">
                <a16:creationId xmlns="" xmlns:a16="http://schemas.microsoft.com/office/drawing/2014/main" id="{B712F212-1E42-4D14-AD5F-5B9C5037CED0}"/>
              </a:ext>
            </a:extLst>
          </p:cNvPr>
          <p:cNvCxnSpPr/>
          <p:nvPr/>
        </p:nvCxnSpPr>
        <p:spPr bwMode="gray">
          <a:xfrm>
            <a:off x="466748" y="4985961"/>
            <a:ext cx="6913564" cy="0"/>
          </a:xfrm>
          <a:prstGeom prst="line">
            <a:avLst/>
          </a:prstGeom>
          <a:ln w="9525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7" descr="Screen of a cell phone&#10;&#10;Description generated with very high confidence">
            <a:extLst>
              <a:ext uri="{FF2B5EF4-FFF2-40B4-BE49-F238E27FC236}">
                <a16:creationId xmlns="" xmlns:a16="http://schemas.microsoft.com/office/drawing/2014/main" id="{34F7B6C2-F991-4195-849D-C1EB055E9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4877" y="1034407"/>
            <a:ext cx="1667713" cy="295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7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906AC61-6A00-4DF4-BD80-8C57138FA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748711" cy="720725"/>
          </a:xfrm>
        </p:spPr>
        <p:txBody>
          <a:bodyPr/>
          <a:lstStyle/>
          <a:p>
            <a:r>
              <a:rPr lang="de-DE" sz="2300" dirty="0">
                <a:solidFill>
                  <a:srgbClr val="FFA500"/>
                </a:solidFill>
              </a:rPr>
              <a:t>Deinstallation von Apps und Deaktivieren des Hochladens</a:t>
            </a:r>
            <a:br>
              <a:rPr lang="de-DE" sz="2300" dirty="0">
                <a:solidFill>
                  <a:srgbClr val="FFA500"/>
                </a:solidFill>
              </a:rPr>
            </a:br>
            <a:r>
              <a:rPr lang="de-DE" sz="2300" dirty="0">
                <a:solidFill>
                  <a:srgbClr val="FFA500"/>
                </a:solidFill>
              </a:rPr>
              <a:t>von Kontakten auf Geräten mit dem Betriebssystem Android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5A6EE08-1E00-4897-A064-E58671D37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FFEE95E-C454-4533-B416-12A886576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A92A847-2CD1-4E01-A1E2-C70FC475F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/>
              <a:pPr>
                <a:defRPr/>
              </a:pPr>
              <a:t>14</a:t>
            </a:fld>
            <a:endParaRPr lang="de-DE" altLang="en-US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3B94392F-F92D-4AD6-BB28-C1A72BB0D551}"/>
              </a:ext>
            </a:extLst>
          </p:cNvPr>
          <p:cNvSpPr txBox="1"/>
          <p:nvPr/>
        </p:nvSpPr>
        <p:spPr>
          <a:xfrm>
            <a:off x="352458" y="3734468"/>
            <a:ext cx="8451919" cy="523220"/>
          </a:xfrm>
          <a:prstGeom prst="rect">
            <a:avLst/>
          </a:prstGeom>
          <a:solidFill>
            <a:schemeClr val="lt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dirty="0"/>
              <a:t>Je nach dem Gerätetyp, dem Modell oder der Android Version können die beschriebenen Schritte etwas abweichen.</a:t>
            </a:r>
            <a:endParaRPr lang="de-DE" sz="1200" b="1" i="1" dirty="0"/>
          </a:p>
        </p:txBody>
      </p:sp>
      <p:sp>
        <p:nvSpPr>
          <p:cNvPr id="7" name="Rectangle 25">
            <a:extLst>
              <a:ext uri="{FF2B5EF4-FFF2-40B4-BE49-F238E27FC236}">
                <a16:creationId xmlns="" xmlns:a16="http://schemas.microsoft.com/office/drawing/2014/main" id="{3677B904-96BA-498B-A569-5522FF2109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3435" y="1536247"/>
            <a:ext cx="8429111" cy="718079"/>
          </a:xfrm>
          <a:prstGeom prst="rect">
            <a:avLst/>
          </a:prstGeom>
          <a:solidFill>
            <a:schemeClr val="bg1"/>
          </a:solidFill>
          <a:ln w="9525">
            <a:solidFill>
              <a:srgbClr val="7F7F7F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sz="1350" dirty="0"/>
              <a:t>Das Symbol der App etwas länger berühren -&gt; auf „Deinstallieren“ tippen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sz="1350" dirty="0"/>
              <a:t>Einstellungen -&gt; Apps -&gt; die App suchen -&gt; auf „ Deinstallieren“ tippen</a:t>
            </a:r>
          </a:p>
        </p:txBody>
      </p:sp>
      <p:sp>
        <p:nvSpPr>
          <p:cNvPr id="8" name="Inhaltsplatzhalter 1">
            <a:extLst>
              <a:ext uri="{FF2B5EF4-FFF2-40B4-BE49-F238E27FC236}">
                <a16:creationId xmlns="" xmlns:a16="http://schemas.microsoft.com/office/drawing/2014/main" id="{F989F5C7-04A4-47E7-AB8E-04E7A352FC18}"/>
              </a:ext>
            </a:extLst>
          </p:cNvPr>
          <p:cNvSpPr txBox="1">
            <a:spLocks/>
          </p:cNvSpPr>
          <p:nvPr/>
        </p:nvSpPr>
        <p:spPr bwMode="gray">
          <a:xfrm>
            <a:off x="375620" y="1125361"/>
            <a:ext cx="8428757" cy="409101"/>
          </a:xfrm>
          <a:prstGeom prst="rect">
            <a:avLst/>
          </a:prstGeom>
          <a:solidFill>
            <a:srgbClr val="7F7F7F"/>
          </a:solidFill>
          <a:ln w="9525">
            <a:solidFill>
              <a:srgbClr val="7F7F7F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>
                <a:solidFill>
                  <a:schemeClr val="bg1"/>
                </a:solidFill>
              </a:rPr>
              <a:t>Auf Android Geräten gibt es zwei Möglichkeiten zum Deinstallieren einer App:</a:t>
            </a:r>
          </a:p>
        </p:txBody>
      </p:sp>
      <p:sp>
        <p:nvSpPr>
          <p:cNvPr id="9" name="Rectangle 25">
            <a:extLst>
              <a:ext uri="{FF2B5EF4-FFF2-40B4-BE49-F238E27FC236}">
                <a16:creationId xmlns="" xmlns:a16="http://schemas.microsoft.com/office/drawing/2014/main" id="{2941FDA5-6F55-4E5B-8070-3B29B6C527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8698" y="2738053"/>
            <a:ext cx="8429111" cy="866384"/>
          </a:xfrm>
          <a:prstGeom prst="rect">
            <a:avLst/>
          </a:prstGeom>
          <a:solidFill>
            <a:schemeClr val="bg1"/>
          </a:solidFill>
          <a:ln w="9525">
            <a:solidFill>
              <a:srgbClr val="7F7F7F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sz="1350" dirty="0"/>
              <a:t>Einstellungen -&gt; Apps -&gt; die App suchen -&gt; Berechtigungen -&gt; Berechtigung „Kontakte“ deaktivieren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sz="1350" dirty="0"/>
              <a:t>Einstellungen -&gt; nach App-Berechtigungen suchen -&gt; Kontakte -&gt; Berechtigung „Kontakte“ für die betreffende App deaktivieren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="" xmlns:a16="http://schemas.microsoft.com/office/drawing/2014/main" id="{57AF9F1B-6FA5-4848-91FE-E10883BF4A15}"/>
              </a:ext>
            </a:extLst>
          </p:cNvPr>
          <p:cNvSpPr txBox="1">
            <a:spLocks/>
          </p:cNvSpPr>
          <p:nvPr/>
        </p:nvSpPr>
        <p:spPr bwMode="gray">
          <a:xfrm>
            <a:off x="378698" y="2319352"/>
            <a:ext cx="8428757" cy="409101"/>
          </a:xfrm>
          <a:prstGeom prst="rect">
            <a:avLst/>
          </a:prstGeom>
          <a:solidFill>
            <a:srgbClr val="7F7F7F"/>
          </a:solidFill>
          <a:ln w="9525">
            <a:solidFill>
              <a:srgbClr val="7F7F7F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>
                <a:solidFill>
                  <a:schemeClr val="bg1"/>
                </a:solidFill>
              </a:rPr>
              <a:t>Auf Android Geräten gibt es zwei Möglichkeiten zum Deaktivieren des Kontaktzugriffs:</a:t>
            </a:r>
          </a:p>
        </p:txBody>
      </p:sp>
    </p:spTree>
    <p:extLst>
      <p:ext uri="{BB962C8B-B14F-4D97-AF65-F5344CB8AC3E}">
        <p14:creationId xmlns:p14="http://schemas.microsoft.com/office/powerpoint/2010/main" val="313866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0D04116-8798-4F2F-9155-639A489A4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226423"/>
            <a:ext cx="8353425" cy="714103"/>
          </a:xfrm>
        </p:spPr>
        <p:txBody>
          <a:bodyPr/>
          <a:lstStyle/>
          <a:p>
            <a:r>
              <a:rPr lang="en-US" dirty="0"/>
              <a:t>Deinstallation von WhatsApp</a:t>
            </a:r>
            <a:br>
              <a:rPr lang="en-US" dirty="0"/>
            </a:br>
            <a:r>
              <a:rPr lang="en-US" b="0" dirty="0" err="1">
                <a:solidFill>
                  <a:schemeClr val="tx1"/>
                </a:solidFill>
              </a:rPr>
              <a:t>Wie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err="1">
                <a:solidFill>
                  <a:schemeClr val="tx1"/>
                </a:solidFill>
              </a:rPr>
              <a:t>wird</a:t>
            </a:r>
            <a:r>
              <a:rPr lang="en-US" b="0" dirty="0">
                <a:solidFill>
                  <a:schemeClr val="tx1"/>
                </a:solidFill>
              </a:rPr>
              <a:t> der WhatsApp </a:t>
            </a:r>
            <a:r>
              <a:rPr lang="en-US" b="0" dirty="0" err="1">
                <a:solidFill>
                  <a:schemeClr val="tx1"/>
                </a:solidFill>
              </a:rPr>
              <a:t>Benutzeraccount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err="1">
                <a:solidFill>
                  <a:schemeClr val="tx1"/>
                </a:solidFill>
              </a:rPr>
              <a:t>gelöscht</a:t>
            </a:r>
            <a:r>
              <a:rPr lang="de-DE" b="0" dirty="0">
                <a:solidFill>
                  <a:schemeClr val="tx1"/>
                </a:solidFill>
              </a:rPr>
              <a:t>?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D942A23-95E3-4771-92CD-BF84F128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35EE0A0-EB92-4672-A04B-11D7E1CD4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08DDD25-2129-4D86-B8D4-84AFA92DE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="" xmlns:a16="http://schemas.microsoft.com/office/drawing/2014/main" id="{DAB13347-7729-45BF-AC47-CDD18842A146}"/>
              </a:ext>
            </a:extLst>
          </p:cNvPr>
          <p:cNvSpPr/>
          <p:nvPr/>
        </p:nvSpPr>
        <p:spPr>
          <a:xfrm>
            <a:off x="2337628" y="1412876"/>
            <a:ext cx="979951" cy="734441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Öffnen der WhatsApp </a:t>
            </a:r>
            <a:r>
              <a:rPr lang="de-DE" sz="1200" dirty="0" err="1">
                <a:solidFill>
                  <a:schemeClr val="bg2">
                    <a:lumMod val="10000"/>
                  </a:schemeClr>
                </a:solidFill>
              </a:rPr>
              <a:t>Einstel</a:t>
            </a:r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-lung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0" name="Graphic 19" descr="Arrow: Slight curve">
            <a:extLst>
              <a:ext uri="{FF2B5EF4-FFF2-40B4-BE49-F238E27FC236}">
                <a16:creationId xmlns="" xmlns:a16="http://schemas.microsoft.com/office/drawing/2014/main" id="{6DA2A807-2D3E-4ABF-86D3-2A1F2164E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94905" y="2724150"/>
            <a:ext cx="914400" cy="914400"/>
          </a:xfrm>
          <a:prstGeom prst="rect">
            <a:avLst/>
          </a:prstGeom>
        </p:spPr>
      </p:pic>
      <p:pic>
        <p:nvPicPr>
          <p:cNvPr id="22" name="Graphic 21" descr="Arrow: Slight curve">
            <a:extLst>
              <a:ext uri="{FF2B5EF4-FFF2-40B4-BE49-F238E27FC236}">
                <a16:creationId xmlns="" xmlns:a16="http://schemas.microsoft.com/office/drawing/2014/main" id="{23F28FCB-6E8B-4A85-B089-33FFC396C4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93572" y="2052128"/>
            <a:ext cx="914400" cy="914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55D25455-7AEC-4F0E-BD8A-B4622A9E92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522" y="1086459"/>
            <a:ext cx="1714500" cy="3048000"/>
          </a:xfrm>
          <a:prstGeom prst="rect">
            <a:avLst/>
          </a:prstGeom>
        </p:spPr>
      </p:pic>
      <p:pic>
        <p:nvPicPr>
          <p:cNvPr id="25" name="Graphic 24" descr="Right Pointing Backhand Index ">
            <a:extLst>
              <a:ext uri="{FF2B5EF4-FFF2-40B4-BE49-F238E27FC236}">
                <a16:creationId xmlns="" xmlns:a16="http://schemas.microsoft.com/office/drawing/2014/main" id="{F9D23127-E0AD-4FE3-83AE-48B574E48A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1081538" y="1954264"/>
            <a:ext cx="640080" cy="6400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51F3B7B8-7024-4745-B4ED-6BCBFA43C7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5507" y="1047042"/>
            <a:ext cx="1714500" cy="3048000"/>
          </a:xfrm>
          <a:prstGeom prst="rect">
            <a:avLst/>
          </a:prstGeom>
        </p:spPr>
      </p:pic>
      <p:pic>
        <p:nvPicPr>
          <p:cNvPr id="31" name="Graphic 30" descr="Right Pointing Backhand Index ">
            <a:extLst>
              <a:ext uri="{FF2B5EF4-FFF2-40B4-BE49-F238E27FC236}">
                <a16:creationId xmlns="" xmlns:a16="http://schemas.microsoft.com/office/drawing/2014/main" id="{00FD5036-898E-4470-8AC8-36FFAEF474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4303841" y="2701556"/>
            <a:ext cx="640080" cy="6400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996D84F2-F508-49EE-A588-98717CECD4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7972" y="1047042"/>
            <a:ext cx="1714500" cy="3048000"/>
          </a:xfrm>
          <a:prstGeom prst="rect">
            <a:avLst/>
          </a:prstGeom>
        </p:spPr>
      </p:pic>
      <p:pic>
        <p:nvPicPr>
          <p:cNvPr id="33" name="Graphic 32" descr="Right Pointing Backhand Index ">
            <a:extLst>
              <a:ext uri="{FF2B5EF4-FFF2-40B4-BE49-F238E27FC236}">
                <a16:creationId xmlns="" xmlns:a16="http://schemas.microsoft.com/office/drawing/2014/main" id="{426FF9F2-7293-4B30-8C73-60BA56BE85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879806">
            <a:off x="7468121" y="3445140"/>
            <a:ext cx="640080" cy="640080"/>
          </a:xfrm>
          <a:prstGeom prst="rect">
            <a:avLst/>
          </a:prstGeom>
        </p:spPr>
      </p:pic>
      <p:sp>
        <p:nvSpPr>
          <p:cNvPr id="19" name="Speech Bubble: Rectangle with Corners Rounded 18">
            <a:extLst>
              <a:ext uri="{FF2B5EF4-FFF2-40B4-BE49-F238E27FC236}">
                <a16:creationId xmlns="" xmlns:a16="http://schemas.microsoft.com/office/drawing/2014/main" id="{0BAA5C4E-91C3-424C-B95A-D5698D89BC49}"/>
              </a:ext>
            </a:extLst>
          </p:cNvPr>
          <p:cNvSpPr/>
          <p:nvPr/>
        </p:nvSpPr>
        <p:spPr>
          <a:xfrm>
            <a:off x="7785192" y="1771998"/>
            <a:ext cx="979951" cy="952111"/>
          </a:xfrm>
          <a:prstGeom prst="wedgeRoundRectCallout">
            <a:avLst>
              <a:gd name="adj1" fmla="val -69721"/>
              <a:gd name="adj2" fmla="val 87546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Eingabe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geschäft-liche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Telefon-nummer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131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8CAC19D-815F-4C09-9B31-88C6FE1E17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232" y="2194980"/>
            <a:ext cx="832195" cy="6958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748711" cy="720725"/>
          </a:xfrm>
        </p:spPr>
        <p:txBody>
          <a:bodyPr/>
          <a:lstStyle/>
          <a:p>
            <a:r>
              <a:rPr lang="de-DE" dirty="0"/>
              <a:t>Deinstallation von WhatsApp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dk1"/>
                </a:solidFill>
              </a:rPr>
              <a:t>Löschung von WhatsApp auf einem Android-Gerä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6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145232" y="877857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-81791" y="1381865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1" name="Graphic 10" descr="Right Pointing Backhand Index ">
            <a:extLst>
              <a:ext uri="{FF2B5EF4-FFF2-40B4-BE49-F238E27FC236}">
                <a16:creationId xmlns="" xmlns:a16="http://schemas.microsoft.com/office/drawing/2014/main" id="{50DFD439-0D8F-4065-8E50-187EF085F7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1214674" y="2395435"/>
            <a:ext cx="478876" cy="478876"/>
          </a:xfrm>
          <a:prstGeom prst="rect">
            <a:avLst/>
          </a:prstGeom>
        </p:spPr>
      </p:pic>
      <p:pic>
        <p:nvPicPr>
          <p:cNvPr id="12" name="Graphic 11" descr="Arrow: Slight curve">
            <a:extLst>
              <a:ext uri="{FF2B5EF4-FFF2-40B4-BE49-F238E27FC236}">
                <a16:creationId xmlns="" xmlns:a16="http://schemas.microsoft.com/office/drawing/2014/main" id="{80A31F33-E5B2-4D6C-83BC-AA468E7E82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23808" y="2433064"/>
            <a:ext cx="369428" cy="369428"/>
          </a:xfrm>
          <a:prstGeom prst="rect">
            <a:avLst/>
          </a:prstGeom>
        </p:spPr>
      </p:pic>
      <p:pic>
        <p:nvPicPr>
          <p:cNvPr id="16" name="Graphic 15" descr="Arrow: Slight curve">
            <a:extLst>
              <a:ext uri="{FF2B5EF4-FFF2-40B4-BE49-F238E27FC236}">
                <a16:creationId xmlns="" xmlns:a16="http://schemas.microsoft.com/office/drawing/2014/main" id="{8A4779C7-B6F1-4C15-9773-6A9CDECED4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56997" y="2433064"/>
            <a:ext cx="369428" cy="3694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968AE87-73D9-40EC-9E4F-55018DE71ED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511"/>
          <a:stretch/>
        </p:blipFill>
        <p:spPr>
          <a:xfrm>
            <a:off x="2197967" y="1593810"/>
            <a:ext cx="1289248" cy="1596524"/>
          </a:xfrm>
          <a:prstGeom prst="rect">
            <a:avLst/>
          </a:prstGeom>
        </p:spPr>
      </p:pic>
      <p:pic>
        <p:nvPicPr>
          <p:cNvPr id="14" name="Graphic 13" descr="Right Pointing Backhand Index ">
            <a:extLst>
              <a:ext uri="{FF2B5EF4-FFF2-40B4-BE49-F238E27FC236}">
                <a16:creationId xmlns="" xmlns:a16="http://schemas.microsoft.com/office/drawing/2014/main" id="{22E9EA3E-589E-4B19-B0EA-2335F17BC2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3014971" y="2210019"/>
            <a:ext cx="478876" cy="47887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5255FC1D-A680-4BBB-A695-A7049155B3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6503" y="1169978"/>
            <a:ext cx="1676629" cy="2980675"/>
          </a:xfrm>
          <a:prstGeom prst="rect">
            <a:avLst/>
          </a:prstGeom>
        </p:spPr>
      </p:pic>
      <p:pic>
        <p:nvPicPr>
          <p:cNvPr id="17" name="Graphic 16" descr="Right Pointing Backhand Index ">
            <a:extLst>
              <a:ext uri="{FF2B5EF4-FFF2-40B4-BE49-F238E27FC236}">
                <a16:creationId xmlns="" xmlns:a16="http://schemas.microsoft.com/office/drawing/2014/main" id="{A1898D02-9D67-435E-922A-D2F545D133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5375207" y="3880768"/>
            <a:ext cx="476245" cy="4762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487CF26F-F7F5-4F80-8A01-736BE14480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74901" y="2066718"/>
            <a:ext cx="1981673" cy="1090719"/>
          </a:xfrm>
          <a:prstGeom prst="rect">
            <a:avLst/>
          </a:prstGeom>
        </p:spPr>
      </p:pic>
      <p:pic>
        <p:nvPicPr>
          <p:cNvPr id="21" name="Graphic 20" descr="Right Pointing Backhand Index ">
            <a:extLst>
              <a:ext uri="{FF2B5EF4-FFF2-40B4-BE49-F238E27FC236}">
                <a16:creationId xmlns="" xmlns:a16="http://schemas.microsoft.com/office/drawing/2014/main" id="{C26FBAA8-691C-43AD-804B-CD1CF05AE4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8520705" y="2857511"/>
            <a:ext cx="476245" cy="476245"/>
          </a:xfrm>
          <a:prstGeom prst="rect">
            <a:avLst/>
          </a:prstGeom>
        </p:spPr>
      </p:pic>
      <p:pic>
        <p:nvPicPr>
          <p:cNvPr id="22" name="Graphic 21" descr="Arrow: Slight curve">
            <a:extLst>
              <a:ext uri="{FF2B5EF4-FFF2-40B4-BE49-F238E27FC236}">
                <a16:creationId xmlns="" xmlns:a16="http://schemas.microsoft.com/office/drawing/2014/main" id="{58B8D961-068B-4068-A6FC-EB34A901F3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67404" y="2454835"/>
            <a:ext cx="369428" cy="36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827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4DA969-B93A-44A9-A7F9-F81624BD5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129262"/>
            <a:ext cx="8353425" cy="1038872"/>
          </a:xfrm>
        </p:spPr>
        <p:txBody>
          <a:bodyPr/>
          <a:lstStyle/>
          <a:p>
            <a:r>
              <a:rPr lang="en-US" dirty="0">
                <a:solidFill>
                  <a:srgbClr val="FFA500"/>
                </a:solidFill>
              </a:rPr>
              <a:t>Deinstallation von Snapchat</a:t>
            </a:r>
            <a:br>
              <a:rPr lang="en-US" dirty="0">
                <a:solidFill>
                  <a:srgbClr val="FFA500"/>
                </a:solidFill>
              </a:rPr>
            </a:br>
            <a:r>
              <a:rPr lang="en-US" sz="2000" b="0" dirty="0" err="1">
                <a:solidFill>
                  <a:srgbClr val="000000"/>
                </a:solidFill>
              </a:rPr>
              <a:t>Löschung</a:t>
            </a:r>
            <a:r>
              <a:rPr lang="en-US" sz="2000" b="0" dirty="0">
                <a:solidFill>
                  <a:srgbClr val="000000"/>
                </a:solidFill>
              </a:rPr>
              <a:t> des Snapchat </a:t>
            </a:r>
            <a:r>
              <a:rPr lang="en-US" sz="2000" b="0" dirty="0" err="1">
                <a:solidFill>
                  <a:srgbClr val="000000"/>
                </a:solidFill>
              </a:rPr>
              <a:t>Benutzeraccounts</a:t>
            </a:r>
            <a:r>
              <a:rPr lang="de-DE" b="0" dirty="0">
                <a:solidFill>
                  <a:srgbClr val="000000"/>
                </a:solidFill>
              </a:rPr>
              <a:t/>
            </a:r>
            <a:br>
              <a:rPr lang="de-DE" b="0" dirty="0">
                <a:solidFill>
                  <a:srgbClr val="000000"/>
                </a:solidFill>
              </a:rPr>
            </a:br>
            <a:r>
              <a:rPr lang="de-DE" sz="1200" b="0" dirty="0">
                <a:solidFill>
                  <a:srgbClr val="000000"/>
                </a:solidFill>
              </a:rPr>
              <a:t>                 Geben Sie folgende URL ein: </a:t>
            </a:r>
            <a:r>
              <a:rPr lang="en-IN" sz="1200" b="0" dirty="0">
                <a:solidFill>
                  <a:srgbClr val="FFA500"/>
                </a:solidFill>
              </a:rPr>
              <a:t> </a:t>
            </a:r>
            <a:r>
              <a:rPr lang="en-IN" sz="1200" b="0" dirty="0">
                <a:solidFill>
                  <a:srgbClr val="FFA500"/>
                </a:solidFill>
                <a:hlinkClick r:id="rId2"/>
              </a:rPr>
              <a:t>https://support.snapchat.com/delete-account</a:t>
            </a:r>
            <a:r>
              <a:rPr lang="en-IN" sz="1200" b="0" dirty="0">
                <a:solidFill>
                  <a:srgbClr val="FFA500"/>
                </a:solidFill>
              </a:rPr>
              <a:t> </a:t>
            </a:r>
            <a:endParaRPr lang="en-US" sz="1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B18FDC09-EA14-43F6-A584-635F46590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EC452B4-0457-4F07-8245-EE554468A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97E9329-2386-42A0-B0BB-FF4C6587E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="" xmlns:a16="http://schemas.microsoft.com/office/drawing/2014/main" id="{7256708A-495B-40EF-9CD1-81CAD16EA0C0}"/>
              </a:ext>
            </a:extLst>
          </p:cNvPr>
          <p:cNvSpPr/>
          <p:nvPr/>
        </p:nvSpPr>
        <p:spPr>
          <a:xfrm>
            <a:off x="2337628" y="1412876"/>
            <a:ext cx="979951" cy="734441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Firmen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-Email und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Passwort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eingeb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="" xmlns:a16="http://schemas.microsoft.com/office/drawing/2014/main" id="{4BE54CCA-AF07-44FD-B10E-F4ADAF348F45}"/>
              </a:ext>
            </a:extLst>
          </p:cNvPr>
          <p:cNvSpPr/>
          <p:nvPr/>
        </p:nvSpPr>
        <p:spPr>
          <a:xfrm>
            <a:off x="5339692" y="1388573"/>
            <a:ext cx="1010308" cy="995432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Benutzer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-name und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Passwort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eingeb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1" name="Graphic 20" descr="Arrow: Slight curve">
            <a:extLst>
              <a:ext uri="{FF2B5EF4-FFF2-40B4-BE49-F238E27FC236}">
                <a16:creationId xmlns="" xmlns:a16="http://schemas.microsoft.com/office/drawing/2014/main" id="{59D2814C-CFD6-452C-8CE2-53040AD5C7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2780" y="2872347"/>
            <a:ext cx="914400" cy="914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90FC793A-1913-4A1D-B465-70526E98A9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767" y="1346795"/>
            <a:ext cx="1428750" cy="2541270"/>
          </a:xfrm>
          <a:prstGeom prst="rect">
            <a:avLst/>
          </a:prstGeom>
        </p:spPr>
      </p:pic>
      <p:pic>
        <p:nvPicPr>
          <p:cNvPr id="24" name="Graphic 23" descr="Right Pointing Backhand Index ">
            <a:extLst>
              <a:ext uri="{FF2B5EF4-FFF2-40B4-BE49-F238E27FC236}">
                <a16:creationId xmlns="" xmlns:a16="http://schemas.microsoft.com/office/drawing/2014/main" id="{89DB2E7B-8768-43E3-8218-3F1DE21906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3879806">
            <a:off x="1552808" y="3336266"/>
            <a:ext cx="640080" cy="6400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E1748227-B090-4204-A755-EDC60F5268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96361" y="1313651"/>
            <a:ext cx="1524000" cy="2710688"/>
          </a:xfrm>
          <a:prstGeom prst="rect">
            <a:avLst/>
          </a:prstGeom>
        </p:spPr>
      </p:pic>
      <p:pic>
        <p:nvPicPr>
          <p:cNvPr id="27" name="Graphic 26" descr="Right Pointing Backhand Index ">
            <a:extLst>
              <a:ext uri="{FF2B5EF4-FFF2-40B4-BE49-F238E27FC236}">
                <a16:creationId xmlns="" xmlns:a16="http://schemas.microsoft.com/office/drawing/2014/main" id="{4154F2C1-5AF8-4ADA-9CDC-D91C496AA9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3879806">
            <a:off x="4656685" y="3529253"/>
            <a:ext cx="640080" cy="64008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08FD0A86-BC50-4695-8978-D16B3129F6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59600" y="1346795"/>
            <a:ext cx="1428750" cy="2541270"/>
          </a:xfrm>
          <a:prstGeom prst="rect">
            <a:avLst/>
          </a:prstGeom>
        </p:spPr>
      </p:pic>
      <p:pic>
        <p:nvPicPr>
          <p:cNvPr id="32" name="Graphic 31" descr="Arrow: Slight curve">
            <a:extLst>
              <a:ext uri="{FF2B5EF4-FFF2-40B4-BE49-F238E27FC236}">
                <a16:creationId xmlns="" xmlns:a16="http://schemas.microsoft.com/office/drawing/2014/main" id="{9CA2E4FD-AC4B-4461-A6F9-84E36B67F1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4903" y="284383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14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476AAF0-9C3C-4C78-9176-E0B78E068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8927" y="1333471"/>
            <a:ext cx="2010258" cy="22389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748711" cy="720725"/>
          </a:xfrm>
        </p:spPr>
        <p:txBody>
          <a:bodyPr/>
          <a:lstStyle/>
          <a:p>
            <a:r>
              <a:rPr lang="de-DE" dirty="0"/>
              <a:t>Deinstallation von </a:t>
            </a:r>
            <a:r>
              <a:rPr lang="de-DE" dirty="0" err="1"/>
              <a:t>Snapchat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dk1"/>
                </a:solidFill>
              </a:rPr>
              <a:t>Löschung von Snapchat auf einem Android-Gerä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8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-575816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52DA21F9-1697-42F7-A1AB-3232424F8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913" t="36546" r="58942" b="52254"/>
          <a:stretch/>
        </p:blipFill>
        <p:spPr>
          <a:xfrm>
            <a:off x="503139" y="2252818"/>
            <a:ext cx="504056" cy="576064"/>
          </a:xfrm>
          <a:prstGeom prst="rect">
            <a:avLst/>
          </a:prstGeom>
        </p:spPr>
      </p:pic>
      <p:pic>
        <p:nvPicPr>
          <p:cNvPr id="13" name="Graphic 12" descr="Right Pointing Backhand Index ">
            <a:extLst>
              <a:ext uri="{FF2B5EF4-FFF2-40B4-BE49-F238E27FC236}">
                <a16:creationId xmlns="" xmlns:a16="http://schemas.microsoft.com/office/drawing/2014/main" id="{81BBB185-8FA3-49DC-9606-C554322839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720649" y="2361358"/>
            <a:ext cx="478876" cy="478876"/>
          </a:xfrm>
          <a:prstGeom prst="rect">
            <a:avLst/>
          </a:prstGeom>
        </p:spPr>
      </p:pic>
      <p:pic>
        <p:nvPicPr>
          <p:cNvPr id="14" name="Graphic 13" descr="Arrow: Slight curve">
            <a:extLst>
              <a:ext uri="{FF2B5EF4-FFF2-40B4-BE49-F238E27FC236}">
                <a16:creationId xmlns="" xmlns:a16="http://schemas.microsoft.com/office/drawing/2014/main" id="{AEE3779D-7682-4E6B-81E7-94431452CE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9783" y="2398987"/>
            <a:ext cx="369428" cy="369428"/>
          </a:xfrm>
          <a:prstGeom prst="rect">
            <a:avLst/>
          </a:prstGeom>
        </p:spPr>
      </p:pic>
      <p:pic>
        <p:nvPicPr>
          <p:cNvPr id="15" name="Graphic 14" descr="Right Pointing Backhand Index ">
            <a:extLst>
              <a:ext uri="{FF2B5EF4-FFF2-40B4-BE49-F238E27FC236}">
                <a16:creationId xmlns="" xmlns:a16="http://schemas.microsoft.com/office/drawing/2014/main" id="{42633B37-D80B-4093-A327-2B13F946F5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2831398" y="2210739"/>
            <a:ext cx="478876" cy="478876"/>
          </a:xfrm>
          <a:prstGeom prst="rect">
            <a:avLst/>
          </a:prstGeom>
        </p:spPr>
      </p:pic>
      <p:pic>
        <p:nvPicPr>
          <p:cNvPr id="16" name="Graphic 15" descr="Arrow: Slight curve">
            <a:extLst>
              <a:ext uri="{FF2B5EF4-FFF2-40B4-BE49-F238E27FC236}">
                <a16:creationId xmlns="" xmlns:a16="http://schemas.microsoft.com/office/drawing/2014/main" id="{E34086D1-6903-4998-B20F-FF5EC5CDE0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62820" y="2398987"/>
            <a:ext cx="369428" cy="3694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318DC130-3413-4DFE-AFF6-B386B467B2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27507" y="1152937"/>
            <a:ext cx="1746204" cy="3104363"/>
          </a:xfrm>
          <a:prstGeom prst="rect">
            <a:avLst/>
          </a:prstGeom>
        </p:spPr>
      </p:pic>
      <p:pic>
        <p:nvPicPr>
          <p:cNvPr id="17" name="Graphic 16" descr="Right Pointing Backhand Index ">
            <a:extLst>
              <a:ext uri="{FF2B5EF4-FFF2-40B4-BE49-F238E27FC236}">
                <a16:creationId xmlns="" xmlns:a16="http://schemas.microsoft.com/office/drawing/2014/main" id="{889666AF-AF12-4766-9B3F-A6FBBACC0A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5283065" y="3947033"/>
            <a:ext cx="478876" cy="47887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FC193415-EEA2-44C8-BC1F-0059C423E0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74901" y="2066718"/>
            <a:ext cx="1981673" cy="1090719"/>
          </a:xfrm>
          <a:prstGeom prst="rect">
            <a:avLst/>
          </a:prstGeom>
        </p:spPr>
      </p:pic>
      <p:pic>
        <p:nvPicPr>
          <p:cNvPr id="23" name="Graphic 22" descr="Right Pointing Backhand Index ">
            <a:extLst>
              <a:ext uri="{FF2B5EF4-FFF2-40B4-BE49-F238E27FC236}">
                <a16:creationId xmlns="" xmlns:a16="http://schemas.microsoft.com/office/drawing/2014/main" id="{1FD3826C-049C-49DE-B517-D2B447D121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8520705" y="2857511"/>
            <a:ext cx="476245" cy="476245"/>
          </a:xfrm>
          <a:prstGeom prst="rect">
            <a:avLst/>
          </a:prstGeom>
        </p:spPr>
      </p:pic>
      <p:pic>
        <p:nvPicPr>
          <p:cNvPr id="24" name="Graphic 23" descr="Arrow: Slight curve">
            <a:extLst>
              <a:ext uri="{FF2B5EF4-FFF2-40B4-BE49-F238E27FC236}">
                <a16:creationId xmlns="" xmlns:a16="http://schemas.microsoft.com/office/drawing/2014/main" id="{AC0535E6-5886-41AA-88DE-C796221729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67404" y="2454835"/>
            <a:ext cx="369428" cy="36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276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1D312BB-0639-4ABE-8FDF-03725B98D8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2081"/>
          <a:stretch/>
        </p:blipFill>
        <p:spPr>
          <a:xfrm>
            <a:off x="1386551" y="2099539"/>
            <a:ext cx="1906446" cy="75485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C20B44FF-E8F1-4FDE-A57F-D66A077E0F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12" y="2293365"/>
            <a:ext cx="607157" cy="5077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Android</a:t>
            </a:r>
            <a:br>
              <a:rPr lang="de-DE" dirty="0"/>
            </a:br>
            <a:r>
              <a:rPr lang="de-DE" b="0" dirty="0">
                <a:solidFill>
                  <a:schemeClr val="tx1"/>
                </a:solidFill>
              </a:rPr>
              <a:t>Facebook Messenger</a:t>
            </a:r>
            <a:endParaRPr lang="de-DE" b="0" dirty="0">
              <a:solidFill>
                <a:schemeClr val="dk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19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2" name="Graphic 11" descr="Right Pointing Backhand Index ">
            <a:extLst>
              <a:ext uri="{FF2B5EF4-FFF2-40B4-BE49-F238E27FC236}">
                <a16:creationId xmlns="" xmlns:a16="http://schemas.microsoft.com/office/drawing/2014/main" id="{AA86DBB6-50B8-4D3F-AA2D-DB8567E96E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461971" y="2337966"/>
            <a:ext cx="478876" cy="478876"/>
          </a:xfrm>
          <a:prstGeom prst="rect">
            <a:avLst/>
          </a:prstGeom>
        </p:spPr>
      </p:pic>
      <p:pic>
        <p:nvPicPr>
          <p:cNvPr id="13" name="Graphic 12" descr="Arrow: Slight curve">
            <a:extLst>
              <a:ext uri="{FF2B5EF4-FFF2-40B4-BE49-F238E27FC236}">
                <a16:creationId xmlns="" xmlns:a16="http://schemas.microsoft.com/office/drawing/2014/main" id="{E454E06F-9680-49FA-BC5B-E1195A1486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1105" y="2375595"/>
            <a:ext cx="369428" cy="369428"/>
          </a:xfrm>
          <a:prstGeom prst="rect">
            <a:avLst/>
          </a:prstGeom>
        </p:spPr>
      </p:pic>
      <p:pic>
        <p:nvPicPr>
          <p:cNvPr id="14" name="Graphic 13" descr="Right Pointing Backhand Index ">
            <a:extLst>
              <a:ext uri="{FF2B5EF4-FFF2-40B4-BE49-F238E27FC236}">
                <a16:creationId xmlns="" xmlns:a16="http://schemas.microsoft.com/office/drawing/2014/main" id="{BFDC0525-F72F-4688-8B06-FF2F9B1432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2765530" y="2572995"/>
            <a:ext cx="478876" cy="478876"/>
          </a:xfrm>
          <a:prstGeom prst="rect">
            <a:avLst/>
          </a:prstGeom>
        </p:spPr>
      </p:pic>
      <p:pic>
        <p:nvPicPr>
          <p:cNvPr id="15" name="Graphic 14" descr="Arrow: Slight curve">
            <a:extLst>
              <a:ext uri="{FF2B5EF4-FFF2-40B4-BE49-F238E27FC236}">
                <a16:creationId xmlns="" xmlns:a16="http://schemas.microsoft.com/office/drawing/2014/main" id="{B1570B23-54B8-4E7E-9B15-8CD394FD03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03892" y="2392690"/>
            <a:ext cx="369428" cy="36942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88C78FB2-CF5C-42F2-8C99-E8B8117C351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7000" r="44569" b="33200"/>
          <a:stretch/>
        </p:blipFill>
        <p:spPr>
          <a:xfrm>
            <a:off x="3884110" y="2375595"/>
            <a:ext cx="1016556" cy="369428"/>
          </a:xfrm>
          <a:prstGeom prst="rect">
            <a:avLst/>
          </a:prstGeom>
        </p:spPr>
      </p:pic>
      <p:pic>
        <p:nvPicPr>
          <p:cNvPr id="17" name="Graphic 16" descr="Arrow: Slight curve">
            <a:extLst>
              <a:ext uri="{FF2B5EF4-FFF2-40B4-BE49-F238E27FC236}">
                <a16:creationId xmlns="" xmlns:a16="http://schemas.microsoft.com/office/drawing/2014/main" id="{6CF555B0-C73C-4B89-8672-BBB908D3CF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8044" y="2375595"/>
            <a:ext cx="369428" cy="369428"/>
          </a:xfrm>
          <a:prstGeom prst="rect">
            <a:avLst/>
          </a:prstGeom>
        </p:spPr>
      </p:pic>
      <p:pic>
        <p:nvPicPr>
          <p:cNvPr id="18" name="Graphic 17" descr="Right Pointing Backhand Index ">
            <a:extLst>
              <a:ext uri="{FF2B5EF4-FFF2-40B4-BE49-F238E27FC236}">
                <a16:creationId xmlns="" xmlns:a16="http://schemas.microsoft.com/office/drawing/2014/main" id="{417A91E9-D76B-4856-9D24-BB807EA61C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4716768" y="2522680"/>
            <a:ext cx="478876" cy="478876"/>
          </a:xfrm>
          <a:prstGeom prst="rect">
            <a:avLst/>
          </a:prstGeom>
        </p:spPr>
      </p:pic>
      <p:pic>
        <p:nvPicPr>
          <p:cNvPr id="20" name="Graphic 19" descr="Arrow: Slight curve">
            <a:extLst>
              <a:ext uri="{FF2B5EF4-FFF2-40B4-BE49-F238E27FC236}">
                <a16:creationId xmlns="" xmlns:a16="http://schemas.microsoft.com/office/drawing/2014/main" id="{5323535F-EB1F-4E3F-A3B9-74EAAD4BE1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78109" y="2392690"/>
            <a:ext cx="369428" cy="36942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28E7E9B4-FE08-45FA-8F99-4FE7BE23A1F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2636"/>
          <a:stretch/>
        </p:blipFill>
        <p:spPr>
          <a:xfrm>
            <a:off x="5546806" y="2374923"/>
            <a:ext cx="1600561" cy="339747"/>
          </a:xfrm>
          <a:prstGeom prst="rect">
            <a:avLst/>
          </a:prstGeom>
        </p:spPr>
      </p:pic>
      <p:pic>
        <p:nvPicPr>
          <p:cNvPr id="21" name="Graphic 20" descr="Right Pointing Backhand Index ">
            <a:extLst>
              <a:ext uri="{FF2B5EF4-FFF2-40B4-BE49-F238E27FC236}">
                <a16:creationId xmlns="" xmlns:a16="http://schemas.microsoft.com/office/drawing/2014/main" id="{DA999AF6-FF90-4A9B-AF83-F4F682E0BE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6549692" y="2609489"/>
            <a:ext cx="478876" cy="47887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43D71252-35D7-4926-B593-48824C96010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35314" y="933786"/>
            <a:ext cx="1837011" cy="3265798"/>
          </a:xfrm>
          <a:prstGeom prst="rect">
            <a:avLst/>
          </a:prstGeom>
        </p:spPr>
      </p:pic>
      <p:pic>
        <p:nvPicPr>
          <p:cNvPr id="23" name="Graphic 22" descr="Right Pointing Backhand Index ">
            <a:extLst>
              <a:ext uri="{FF2B5EF4-FFF2-40B4-BE49-F238E27FC236}">
                <a16:creationId xmlns="" xmlns:a16="http://schemas.microsoft.com/office/drawing/2014/main" id="{F8F9C8D6-7D9C-49D9-8DDA-47A2C0411A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879806">
            <a:off x="8742772" y="2193644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5648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2</a:t>
            </a:fld>
            <a:endParaRPr lang="de-DE" altLang="en-US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7338DF4-F0EA-45F1-8CA2-F0B22776B468}"/>
              </a:ext>
            </a:extLst>
          </p:cNvPr>
          <p:cNvSpPr txBox="1"/>
          <p:nvPr/>
        </p:nvSpPr>
        <p:spPr>
          <a:xfrm>
            <a:off x="880483" y="3205680"/>
            <a:ext cx="2179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500">
                <a:solidFill>
                  <a:schemeClr val="lt1"/>
                </a:solidFill>
              </a:rPr>
              <a:t>ca. 35.000 Gerät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AE2E31F3-2229-4308-A59F-B3E64D8F3AA9}"/>
              </a:ext>
            </a:extLst>
          </p:cNvPr>
          <p:cNvSpPr txBox="1"/>
          <p:nvPr/>
        </p:nvSpPr>
        <p:spPr>
          <a:xfrm>
            <a:off x="5940152" y="3205680"/>
            <a:ext cx="2179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500">
                <a:solidFill>
                  <a:schemeClr val="lt1"/>
                </a:solidFill>
              </a:rPr>
              <a:t>Anzahl der Geräte unbekannt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="" xmlns:a16="http://schemas.microsoft.com/office/drawing/2014/main" id="{A5F987D2-8ECC-4050-AD92-34F415D8AE02}"/>
              </a:ext>
            </a:extLst>
          </p:cNvPr>
          <p:cNvSpPr/>
          <p:nvPr/>
        </p:nvSpPr>
        <p:spPr>
          <a:xfrm>
            <a:off x="705926" y="1101562"/>
            <a:ext cx="3721350" cy="2431376"/>
          </a:xfrm>
          <a:custGeom>
            <a:avLst/>
            <a:gdLst>
              <a:gd name="connsiteX0" fmla="*/ 0 w 3721350"/>
              <a:gd name="connsiteY0" fmla="*/ 265931 h 2659306"/>
              <a:gd name="connsiteX1" fmla="*/ 265931 w 3721350"/>
              <a:gd name="connsiteY1" fmla="*/ 0 h 2659306"/>
              <a:gd name="connsiteX2" fmla="*/ 3455419 w 3721350"/>
              <a:gd name="connsiteY2" fmla="*/ 0 h 2659306"/>
              <a:gd name="connsiteX3" fmla="*/ 3721350 w 3721350"/>
              <a:gd name="connsiteY3" fmla="*/ 265931 h 2659306"/>
              <a:gd name="connsiteX4" fmla="*/ 3721350 w 3721350"/>
              <a:gd name="connsiteY4" fmla="*/ 2393375 h 2659306"/>
              <a:gd name="connsiteX5" fmla="*/ 3455419 w 3721350"/>
              <a:gd name="connsiteY5" fmla="*/ 2659306 h 2659306"/>
              <a:gd name="connsiteX6" fmla="*/ 265931 w 3721350"/>
              <a:gd name="connsiteY6" fmla="*/ 2659306 h 2659306"/>
              <a:gd name="connsiteX7" fmla="*/ 0 w 3721350"/>
              <a:gd name="connsiteY7" fmla="*/ 2393375 h 2659306"/>
              <a:gd name="connsiteX8" fmla="*/ 0 w 3721350"/>
              <a:gd name="connsiteY8" fmla="*/ 265931 h 2659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21350" h="2659306">
                <a:moveTo>
                  <a:pt x="0" y="265931"/>
                </a:moveTo>
                <a:cubicBezTo>
                  <a:pt x="0" y="119061"/>
                  <a:pt x="119061" y="0"/>
                  <a:pt x="265931" y="0"/>
                </a:cubicBezTo>
                <a:lnTo>
                  <a:pt x="3455419" y="0"/>
                </a:lnTo>
                <a:cubicBezTo>
                  <a:pt x="3602289" y="0"/>
                  <a:pt x="3721350" y="119061"/>
                  <a:pt x="3721350" y="265931"/>
                </a:cubicBezTo>
                <a:lnTo>
                  <a:pt x="3721350" y="2393375"/>
                </a:lnTo>
                <a:cubicBezTo>
                  <a:pt x="3721350" y="2540245"/>
                  <a:pt x="3602289" y="2659306"/>
                  <a:pt x="3455419" y="2659306"/>
                </a:cubicBezTo>
                <a:lnTo>
                  <a:pt x="265931" y="2659306"/>
                </a:lnTo>
                <a:cubicBezTo>
                  <a:pt x="119061" y="2659306"/>
                  <a:pt x="0" y="2540245"/>
                  <a:pt x="0" y="2393375"/>
                </a:cubicBezTo>
                <a:lnTo>
                  <a:pt x="0" y="265931"/>
                </a:lnTo>
                <a:close/>
              </a:path>
            </a:pathLst>
          </a:custGeom>
          <a:ln>
            <a:solidFill>
              <a:srgbClr val="757575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2456" tIns="1156178" rIns="92456" bIns="624318" numCol="1" spcCol="1270" anchor="t" anchorCtr="1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/>
              <a:t>Geräte, die Eigentum des Unternehmens sind (Company Owned Devices, COD)</a:t>
            </a:r>
          </a:p>
          <a:p>
            <a:pPr marL="114300" lvl="1" indent="-114300" algn="l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300" kern="1200" dirty="0"/>
              <a:t>Mobile Geräte zur beruflichen Nutzung, bereitgestellt und verwaltet von Continenta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="" xmlns:a16="http://schemas.microsoft.com/office/drawing/2014/main" id="{727B5C63-9779-4349-ABB4-9F6676322776}"/>
              </a:ext>
            </a:extLst>
          </p:cNvPr>
          <p:cNvSpPr/>
          <p:nvPr/>
        </p:nvSpPr>
        <p:spPr>
          <a:xfrm>
            <a:off x="4542167" y="1101562"/>
            <a:ext cx="3721350" cy="2431376"/>
          </a:xfrm>
          <a:custGeom>
            <a:avLst/>
            <a:gdLst>
              <a:gd name="connsiteX0" fmla="*/ 0 w 3721350"/>
              <a:gd name="connsiteY0" fmla="*/ 265931 h 2659306"/>
              <a:gd name="connsiteX1" fmla="*/ 265931 w 3721350"/>
              <a:gd name="connsiteY1" fmla="*/ 0 h 2659306"/>
              <a:gd name="connsiteX2" fmla="*/ 3455419 w 3721350"/>
              <a:gd name="connsiteY2" fmla="*/ 0 h 2659306"/>
              <a:gd name="connsiteX3" fmla="*/ 3721350 w 3721350"/>
              <a:gd name="connsiteY3" fmla="*/ 265931 h 2659306"/>
              <a:gd name="connsiteX4" fmla="*/ 3721350 w 3721350"/>
              <a:gd name="connsiteY4" fmla="*/ 2393375 h 2659306"/>
              <a:gd name="connsiteX5" fmla="*/ 3455419 w 3721350"/>
              <a:gd name="connsiteY5" fmla="*/ 2659306 h 2659306"/>
              <a:gd name="connsiteX6" fmla="*/ 265931 w 3721350"/>
              <a:gd name="connsiteY6" fmla="*/ 2659306 h 2659306"/>
              <a:gd name="connsiteX7" fmla="*/ 0 w 3721350"/>
              <a:gd name="connsiteY7" fmla="*/ 2393375 h 2659306"/>
              <a:gd name="connsiteX8" fmla="*/ 0 w 3721350"/>
              <a:gd name="connsiteY8" fmla="*/ 265931 h 2659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21350" h="2659306">
                <a:moveTo>
                  <a:pt x="0" y="265931"/>
                </a:moveTo>
                <a:cubicBezTo>
                  <a:pt x="0" y="119061"/>
                  <a:pt x="119061" y="0"/>
                  <a:pt x="265931" y="0"/>
                </a:cubicBezTo>
                <a:lnTo>
                  <a:pt x="3455419" y="0"/>
                </a:lnTo>
                <a:cubicBezTo>
                  <a:pt x="3602289" y="0"/>
                  <a:pt x="3721350" y="119061"/>
                  <a:pt x="3721350" y="265931"/>
                </a:cubicBezTo>
                <a:lnTo>
                  <a:pt x="3721350" y="2393375"/>
                </a:lnTo>
                <a:cubicBezTo>
                  <a:pt x="3721350" y="2540245"/>
                  <a:pt x="3602289" y="2659306"/>
                  <a:pt x="3455419" y="2659306"/>
                </a:cubicBezTo>
                <a:lnTo>
                  <a:pt x="265931" y="2659306"/>
                </a:lnTo>
                <a:cubicBezTo>
                  <a:pt x="119061" y="2659306"/>
                  <a:pt x="0" y="2540245"/>
                  <a:pt x="0" y="2393375"/>
                </a:cubicBezTo>
                <a:lnTo>
                  <a:pt x="0" y="265931"/>
                </a:lnTo>
                <a:close/>
              </a:path>
            </a:pathLst>
          </a:custGeom>
          <a:ln>
            <a:solidFill>
              <a:srgbClr val="757575"/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2456" tIns="1156178" rIns="92456" bIns="624318" numCol="1" spcCol="1270" anchor="t" anchorCtr="1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/>
              <a:t>Geräte, die Eigentum des Benutzers sind (Bring Your Own Device, BYOD)</a:t>
            </a:r>
          </a:p>
          <a:p>
            <a:pPr marL="114300" lvl="1" indent="-114300" algn="l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300" kern="1200" dirty="0"/>
              <a:t>Mobile Geräte, bereitgestellt vom Benutzer, verwaltet von Continental</a:t>
            </a:r>
          </a:p>
        </p:txBody>
      </p:sp>
      <p:sp>
        <p:nvSpPr>
          <p:cNvPr id="19" name="AutoShape 6" descr="Image result for skype for business icon">
            <a:extLst>
              <a:ext uri="{FF2B5EF4-FFF2-40B4-BE49-F238E27FC236}">
                <a16:creationId xmlns="" xmlns:a16="http://schemas.microsoft.com/office/drawing/2014/main" id="{F02A9B40-915E-4BDA-95A9-10388B0955F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80447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D5A7B67B-2F30-4479-A3BC-56771A09CF5E}"/>
              </a:ext>
            </a:extLst>
          </p:cNvPr>
          <p:cNvSpPr txBox="1"/>
          <p:nvPr/>
        </p:nvSpPr>
        <p:spPr>
          <a:xfrm>
            <a:off x="586986" y="3622434"/>
            <a:ext cx="7945454" cy="646331"/>
          </a:xfrm>
          <a:prstGeom prst="rect">
            <a:avLst/>
          </a:prstGeom>
          <a:solidFill>
            <a:srgbClr val="FF9E0D"/>
          </a:solidFill>
        </p:spPr>
        <p:txBody>
          <a:bodyPr wrap="square" rtlCol="0" anchor="t">
            <a:spAutoFit/>
          </a:bodyPr>
          <a:lstStyle/>
          <a:p>
            <a:pPr algn="ctr"/>
            <a:r>
              <a:rPr lang="de-DE" dirty="0"/>
              <a:t>Für diese Klassen mobiler Geräte gelten die folgenden</a:t>
            </a:r>
            <a:br>
              <a:rPr lang="de-DE" dirty="0"/>
            </a:br>
            <a:r>
              <a:rPr lang="de-DE" dirty="0"/>
              <a:t>Aussagen und Anweisungen</a:t>
            </a:r>
          </a:p>
        </p:txBody>
      </p:sp>
      <p:sp>
        <p:nvSpPr>
          <p:cNvPr id="21" name="Rounded Rectangle 128">
            <a:extLst>
              <a:ext uri="{FF2B5EF4-FFF2-40B4-BE49-F238E27FC236}">
                <a16:creationId xmlns="" xmlns:a16="http://schemas.microsoft.com/office/drawing/2014/main" id="{1F58E489-6E0A-414C-BE01-774479EDB68E}"/>
              </a:ext>
            </a:extLst>
          </p:cNvPr>
          <p:cNvSpPr/>
          <p:nvPr/>
        </p:nvSpPr>
        <p:spPr bwMode="gray">
          <a:xfrm>
            <a:off x="7956755" y="3641653"/>
            <a:ext cx="498322" cy="575180"/>
          </a:xfrm>
          <a:prstGeom prst="roundRect">
            <a:avLst>
              <a:gd name="adj" fmla="val 11148"/>
            </a:avLst>
          </a:prstGeom>
          <a:ln w="19050">
            <a:solidFill>
              <a:schemeClr val="bg1"/>
            </a:solidFill>
            <a:headEnd/>
            <a:tailEnd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36000" rIns="90000" bIns="36000" anchor="ctr"/>
          <a:lstStyle/>
          <a:p>
            <a:pPr algn="ctr" eaLnBrk="0" hangingPunct="0">
              <a:spcBef>
                <a:spcPct val="60000"/>
              </a:spcBef>
              <a:buClr>
                <a:schemeClr val="tx2"/>
              </a:buClr>
            </a:pPr>
            <a:r>
              <a:rPr lang="de-DE" sz="3200" b="1" dirty="0">
                <a:solidFill>
                  <a:schemeClr val="bg1"/>
                </a:solidFill>
                <a:latin typeface="Arial Black" pitchFamily="34" charset="0"/>
              </a:rPr>
              <a:t>!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B3189EE9-DF2D-4D63-8CB9-3C9DEDCE4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0152" y="1213473"/>
            <a:ext cx="866775" cy="87153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232171B7-610C-4DC7-B9E4-9A57CC4FE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177" y="1275736"/>
            <a:ext cx="1057527" cy="642677"/>
          </a:xfrm>
          <a:prstGeom prst="rect">
            <a:avLst/>
          </a:prstGeom>
        </p:spPr>
      </p:pic>
      <p:sp>
        <p:nvSpPr>
          <p:cNvPr id="25" name="Titel 7">
            <a:extLst>
              <a:ext uri="{FF2B5EF4-FFF2-40B4-BE49-F238E27FC236}">
                <a16:creationId xmlns="" xmlns:a16="http://schemas.microsoft.com/office/drawing/2014/main" id="{9D5BC22D-5592-4960-AE3C-508A09731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/>
          <a:p>
            <a:r>
              <a:rPr lang="de-DE" sz="2300" dirty="0"/>
              <a:t>Klassen mobiler Geräte, für die das Vorstandsschreiben „Verwendung von </a:t>
            </a:r>
            <a:r>
              <a:rPr lang="de-DE" sz="2300" dirty="0" err="1"/>
              <a:t>Social</a:t>
            </a:r>
            <a:r>
              <a:rPr lang="de-DE" sz="2300" dirty="0"/>
              <a:t>-Media-Apps“ vom 4. Juni 2018 gilt</a:t>
            </a:r>
          </a:p>
        </p:txBody>
      </p:sp>
    </p:spTree>
    <p:extLst>
      <p:ext uri="{BB962C8B-B14F-4D97-AF65-F5344CB8AC3E}">
        <p14:creationId xmlns:p14="http://schemas.microsoft.com/office/powerpoint/2010/main" val="1456336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Android</a:t>
            </a:r>
            <a:r>
              <a:rPr lang="de-DE" sz="2100" dirty="0"/>
              <a:t> </a:t>
            </a:r>
            <a:r>
              <a:rPr lang="de-DE" dirty="0"/>
              <a:t/>
            </a:r>
            <a:br>
              <a:rPr lang="de-DE" dirty="0"/>
            </a:br>
            <a:r>
              <a:rPr lang="de-DE" b="0" dirty="0">
                <a:solidFill>
                  <a:schemeClr val="tx1"/>
                </a:solidFill>
              </a:rPr>
              <a:t>LinkedI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20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FCB0212-C731-4915-95E2-D9056B1A73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9073" r="46047" b="51226"/>
          <a:stretch/>
        </p:blipFill>
        <p:spPr>
          <a:xfrm>
            <a:off x="3918588" y="2376181"/>
            <a:ext cx="1016557" cy="375751"/>
          </a:xfrm>
          <a:prstGeom prst="rect">
            <a:avLst/>
          </a:prstGeom>
        </p:spPr>
      </p:pic>
      <p:pic>
        <p:nvPicPr>
          <p:cNvPr id="19" name="Graphic 18" descr="Right Pointing Backhand Index ">
            <a:extLst>
              <a:ext uri="{FF2B5EF4-FFF2-40B4-BE49-F238E27FC236}">
                <a16:creationId xmlns="" xmlns:a16="http://schemas.microsoft.com/office/drawing/2014/main" id="{94A1EC66-6BB2-40B4-9517-3EDA526EEE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4716768" y="2522680"/>
            <a:ext cx="478876" cy="47887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38D8A519-7A17-494B-96DC-A6262D7B16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2081"/>
          <a:stretch/>
        </p:blipFill>
        <p:spPr>
          <a:xfrm>
            <a:off x="1386551" y="2099539"/>
            <a:ext cx="1906446" cy="754858"/>
          </a:xfrm>
          <a:prstGeom prst="rect">
            <a:avLst/>
          </a:prstGeom>
        </p:spPr>
      </p:pic>
      <p:pic>
        <p:nvPicPr>
          <p:cNvPr id="26" name="Graphic 25" descr="Arrow: Slight curve">
            <a:extLst>
              <a:ext uri="{FF2B5EF4-FFF2-40B4-BE49-F238E27FC236}">
                <a16:creationId xmlns="" xmlns:a16="http://schemas.microsoft.com/office/drawing/2014/main" id="{E36FEBFB-ABFA-41F0-89FF-CBD485503C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1105" y="2375595"/>
            <a:ext cx="369428" cy="369428"/>
          </a:xfrm>
          <a:prstGeom prst="rect">
            <a:avLst/>
          </a:prstGeom>
        </p:spPr>
      </p:pic>
      <p:pic>
        <p:nvPicPr>
          <p:cNvPr id="27" name="Graphic 26" descr="Right Pointing Backhand Index ">
            <a:extLst>
              <a:ext uri="{FF2B5EF4-FFF2-40B4-BE49-F238E27FC236}">
                <a16:creationId xmlns="" xmlns:a16="http://schemas.microsoft.com/office/drawing/2014/main" id="{0197A1C1-4DBA-4A3F-BBCF-145B77260D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2765530" y="2572995"/>
            <a:ext cx="478876" cy="478876"/>
          </a:xfrm>
          <a:prstGeom prst="rect">
            <a:avLst/>
          </a:prstGeom>
        </p:spPr>
      </p:pic>
      <p:pic>
        <p:nvPicPr>
          <p:cNvPr id="28" name="Graphic 27" descr="Arrow: Slight curve">
            <a:extLst>
              <a:ext uri="{FF2B5EF4-FFF2-40B4-BE49-F238E27FC236}">
                <a16:creationId xmlns="" xmlns:a16="http://schemas.microsoft.com/office/drawing/2014/main" id="{5C5F1B85-323F-48BB-9C58-3863E35903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03892" y="2392690"/>
            <a:ext cx="369428" cy="369428"/>
          </a:xfrm>
          <a:prstGeom prst="rect">
            <a:avLst/>
          </a:prstGeom>
        </p:spPr>
      </p:pic>
      <p:pic>
        <p:nvPicPr>
          <p:cNvPr id="29" name="Graphic 28" descr="Arrow: Slight curve">
            <a:extLst>
              <a:ext uri="{FF2B5EF4-FFF2-40B4-BE49-F238E27FC236}">
                <a16:creationId xmlns="" xmlns:a16="http://schemas.microsoft.com/office/drawing/2014/main" id="{A94FB71E-7D29-454E-ABD1-9F174097C2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8044" y="2375595"/>
            <a:ext cx="369428" cy="369428"/>
          </a:xfrm>
          <a:prstGeom prst="rect">
            <a:avLst/>
          </a:prstGeom>
        </p:spPr>
      </p:pic>
      <p:pic>
        <p:nvPicPr>
          <p:cNvPr id="31" name="Graphic 30" descr="Right Pointing Backhand Index ">
            <a:extLst>
              <a:ext uri="{FF2B5EF4-FFF2-40B4-BE49-F238E27FC236}">
                <a16:creationId xmlns="" xmlns:a16="http://schemas.microsoft.com/office/drawing/2014/main" id="{0B4B3D06-B1EA-4C92-BC8C-E7D58496F8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6549692" y="2609489"/>
            <a:ext cx="478876" cy="4788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600E6E91-948E-433C-89E3-F7E3BBABF3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30717" y="1033879"/>
            <a:ext cx="1776493" cy="3158210"/>
          </a:xfrm>
          <a:prstGeom prst="rect">
            <a:avLst/>
          </a:prstGeom>
        </p:spPr>
      </p:pic>
      <p:pic>
        <p:nvPicPr>
          <p:cNvPr id="33" name="Graphic 32" descr="Right Pointing Backhand Index ">
            <a:extLst>
              <a:ext uri="{FF2B5EF4-FFF2-40B4-BE49-F238E27FC236}">
                <a16:creationId xmlns="" xmlns:a16="http://schemas.microsoft.com/office/drawing/2014/main" id="{39757187-FB4A-48A9-B484-F2AF8667C1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8735845" y="2287327"/>
            <a:ext cx="478876" cy="478876"/>
          </a:xfrm>
          <a:prstGeom prst="rect">
            <a:avLst/>
          </a:prstGeom>
        </p:spPr>
      </p:pic>
      <p:pic>
        <p:nvPicPr>
          <p:cNvPr id="34" name="Graphic 33" descr="Arrow: Slight curve">
            <a:extLst>
              <a:ext uri="{FF2B5EF4-FFF2-40B4-BE49-F238E27FC236}">
                <a16:creationId xmlns="" xmlns:a16="http://schemas.microsoft.com/office/drawing/2014/main" id="{1BF9EFF8-86DD-42AD-AB8E-A6325C4E0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78109" y="2392690"/>
            <a:ext cx="369428" cy="36942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F6404D2A-5035-42DF-B3C3-11D1BF7F099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2636"/>
          <a:stretch/>
        </p:blipFill>
        <p:spPr>
          <a:xfrm>
            <a:off x="5546806" y="2374923"/>
            <a:ext cx="1600561" cy="33974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C42883DC-AF29-45A0-BEE7-DB7ABC2164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1412" y="2293365"/>
            <a:ext cx="607157" cy="507709"/>
          </a:xfrm>
          <a:prstGeom prst="rect">
            <a:avLst/>
          </a:prstGeom>
        </p:spPr>
      </p:pic>
      <p:pic>
        <p:nvPicPr>
          <p:cNvPr id="25" name="Graphic 24" descr="Right Pointing Backhand Index ">
            <a:extLst>
              <a:ext uri="{FF2B5EF4-FFF2-40B4-BE49-F238E27FC236}">
                <a16:creationId xmlns="" xmlns:a16="http://schemas.microsoft.com/office/drawing/2014/main" id="{720C6855-E693-4AB9-A688-DF6656B9B2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461971" y="2337966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048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aktivierung des Kontaktuploads auf Android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tx1"/>
                </a:solidFill>
              </a:rPr>
              <a:t>Instagram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21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1C30CD90-F9B5-487A-8094-3B72FDE3A6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770" r="40752" b="50000"/>
          <a:stretch/>
        </p:blipFill>
        <p:spPr>
          <a:xfrm>
            <a:off x="3897099" y="2401271"/>
            <a:ext cx="1126869" cy="360846"/>
          </a:xfrm>
          <a:prstGeom prst="rect">
            <a:avLst/>
          </a:prstGeom>
        </p:spPr>
      </p:pic>
      <p:pic>
        <p:nvPicPr>
          <p:cNvPr id="18" name="Graphic 17" descr="Right Pointing Backhand Index ">
            <a:extLst>
              <a:ext uri="{FF2B5EF4-FFF2-40B4-BE49-F238E27FC236}">
                <a16:creationId xmlns="" xmlns:a16="http://schemas.microsoft.com/office/drawing/2014/main" id="{643930B7-BC7E-4A42-9DD2-DC0D6571F0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4716768" y="2522680"/>
            <a:ext cx="478876" cy="47887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0AF70486-A183-458B-A0E3-7A13B1224C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2081"/>
          <a:stretch/>
        </p:blipFill>
        <p:spPr>
          <a:xfrm>
            <a:off x="1386551" y="2099539"/>
            <a:ext cx="1906446" cy="754858"/>
          </a:xfrm>
          <a:prstGeom prst="rect">
            <a:avLst/>
          </a:prstGeom>
        </p:spPr>
      </p:pic>
      <p:pic>
        <p:nvPicPr>
          <p:cNvPr id="25" name="Graphic 24" descr="Arrow: Slight curve">
            <a:extLst>
              <a:ext uri="{FF2B5EF4-FFF2-40B4-BE49-F238E27FC236}">
                <a16:creationId xmlns="" xmlns:a16="http://schemas.microsoft.com/office/drawing/2014/main" id="{D248C541-91C3-468F-8D24-220D3D5C60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1105" y="2375595"/>
            <a:ext cx="369428" cy="369428"/>
          </a:xfrm>
          <a:prstGeom prst="rect">
            <a:avLst/>
          </a:prstGeom>
        </p:spPr>
      </p:pic>
      <p:pic>
        <p:nvPicPr>
          <p:cNvPr id="26" name="Graphic 25" descr="Right Pointing Backhand Index ">
            <a:extLst>
              <a:ext uri="{FF2B5EF4-FFF2-40B4-BE49-F238E27FC236}">
                <a16:creationId xmlns="" xmlns:a16="http://schemas.microsoft.com/office/drawing/2014/main" id="{53F17B2F-2295-4967-A93D-5C03F80B87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2765530" y="2572995"/>
            <a:ext cx="478876" cy="478876"/>
          </a:xfrm>
          <a:prstGeom prst="rect">
            <a:avLst/>
          </a:prstGeom>
        </p:spPr>
      </p:pic>
      <p:pic>
        <p:nvPicPr>
          <p:cNvPr id="27" name="Graphic 26" descr="Arrow: Slight curve">
            <a:extLst>
              <a:ext uri="{FF2B5EF4-FFF2-40B4-BE49-F238E27FC236}">
                <a16:creationId xmlns="" xmlns:a16="http://schemas.microsoft.com/office/drawing/2014/main" id="{CC71AD76-DC17-4E64-A317-D57EB49201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03892" y="2392690"/>
            <a:ext cx="369428" cy="36942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DA20F566-5E1D-4539-A918-934029F3F5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412" y="2293365"/>
            <a:ext cx="607157" cy="507709"/>
          </a:xfrm>
          <a:prstGeom prst="rect">
            <a:avLst/>
          </a:prstGeom>
        </p:spPr>
      </p:pic>
      <p:pic>
        <p:nvPicPr>
          <p:cNvPr id="29" name="Graphic 28" descr="Right Pointing Backhand Index ">
            <a:extLst>
              <a:ext uri="{FF2B5EF4-FFF2-40B4-BE49-F238E27FC236}">
                <a16:creationId xmlns="" xmlns:a16="http://schemas.microsoft.com/office/drawing/2014/main" id="{5AC1604E-459C-4F13-9F6B-56C68BD82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461971" y="2337966"/>
            <a:ext cx="478876" cy="478876"/>
          </a:xfrm>
          <a:prstGeom prst="rect">
            <a:avLst/>
          </a:prstGeom>
        </p:spPr>
      </p:pic>
      <p:pic>
        <p:nvPicPr>
          <p:cNvPr id="30" name="Graphic 29" descr="Arrow: Slight curve">
            <a:extLst>
              <a:ext uri="{FF2B5EF4-FFF2-40B4-BE49-F238E27FC236}">
                <a16:creationId xmlns="" xmlns:a16="http://schemas.microsoft.com/office/drawing/2014/main" id="{5BC6EC0E-87AB-48D5-9338-277188FDAF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8044" y="2375595"/>
            <a:ext cx="369428" cy="369428"/>
          </a:xfrm>
          <a:prstGeom prst="rect">
            <a:avLst/>
          </a:prstGeom>
        </p:spPr>
      </p:pic>
      <p:pic>
        <p:nvPicPr>
          <p:cNvPr id="31" name="Graphic 30" descr="Right Pointing Backhand Index ">
            <a:extLst>
              <a:ext uri="{FF2B5EF4-FFF2-40B4-BE49-F238E27FC236}">
                <a16:creationId xmlns="" xmlns:a16="http://schemas.microsoft.com/office/drawing/2014/main" id="{4A891761-2DAA-4D62-896B-7382847C56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6549692" y="2609489"/>
            <a:ext cx="478876" cy="478876"/>
          </a:xfrm>
          <a:prstGeom prst="rect">
            <a:avLst/>
          </a:prstGeom>
        </p:spPr>
      </p:pic>
      <p:pic>
        <p:nvPicPr>
          <p:cNvPr id="32" name="Graphic 31" descr="Arrow: Slight curve">
            <a:extLst>
              <a:ext uri="{FF2B5EF4-FFF2-40B4-BE49-F238E27FC236}">
                <a16:creationId xmlns="" xmlns:a16="http://schemas.microsoft.com/office/drawing/2014/main" id="{DAACF28D-111D-4B29-807B-C8CCD9B11E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78109" y="2392690"/>
            <a:ext cx="369428" cy="36942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8D3E2F07-F44C-4BD2-9619-7F1723A5FFF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2636"/>
          <a:stretch/>
        </p:blipFill>
        <p:spPr>
          <a:xfrm>
            <a:off x="5546806" y="2374923"/>
            <a:ext cx="1600561" cy="3397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5254C4DE-F080-4F7C-A721-1DB24686940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61919" y="1044343"/>
            <a:ext cx="1796461" cy="3193708"/>
          </a:xfrm>
          <a:prstGeom prst="rect">
            <a:avLst/>
          </a:prstGeom>
        </p:spPr>
      </p:pic>
      <p:pic>
        <p:nvPicPr>
          <p:cNvPr id="34" name="Graphic 33" descr="Right Pointing Backhand Index ">
            <a:extLst>
              <a:ext uri="{FF2B5EF4-FFF2-40B4-BE49-F238E27FC236}">
                <a16:creationId xmlns="" xmlns:a16="http://schemas.microsoft.com/office/drawing/2014/main" id="{FA309C43-1874-4040-B265-A039531C6A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8739236" y="2026898"/>
            <a:ext cx="478876" cy="4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39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upport</a:t>
            </a:r>
            <a:endParaRPr lang="de-DE" b="0">
              <a:solidFill>
                <a:schemeClr val="dk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22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215143" y="1215622"/>
            <a:ext cx="87137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Aft>
                <a:spcPts val="0"/>
              </a:spcAft>
            </a:pPr>
            <a:r>
              <a:rPr lang="de-DE" sz="2400" dirty="0">
                <a:latin typeface="+mj-lt"/>
              </a:rPr>
              <a:t>Falls Sie weitere Unterstützung benötigen, wenden Sie sich bitte an den Service Desk.</a:t>
            </a:r>
            <a:endParaRPr lang="de-DE" sz="2400" dirty="0">
              <a:latin typeface="+mj-lt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de-DE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AB426625-8867-4A21-97BA-99D242DAE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1920" y="2431026"/>
            <a:ext cx="1181100" cy="117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890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 mobiler Geräte müssen die folgenden Schritte ausführen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3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323207" y="906415"/>
            <a:ext cx="80651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endParaRPr lang="de-DE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spcAft>
                <a:spcPts val="0"/>
              </a:spcAft>
            </a:pPr>
            <a:r>
              <a:rPr lang="de-DE"/>
              <a:t> </a:t>
            </a:r>
            <a:r>
              <a:t/>
            </a:r>
            <a:br/>
            <a:endParaRPr lang="de-DE"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7" name="Inhaltsplatzhalter 1">
            <a:extLst>
              <a:ext uri="{FF2B5EF4-FFF2-40B4-BE49-F238E27FC236}">
                <a16:creationId xmlns="" xmlns:a16="http://schemas.microsoft.com/office/drawing/2014/main" id="{562A3E70-C3F4-41BA-B2E2-D0E898C41E9B}"/>
              </a:ext>
            </a:extLst>
          </p:cNvPr>
          <p:cNvSpPr txBox="1">
            <a:spLocks/>
          </p:cNvSpPr>
          <p:nvPr/>
        </p:nvSpPr>
        <p:spPr bwMode="gray">
          <a:xfrm>
            <a:off x="426562" y="1103050"/>
            <a:ext cx="1296142" cy="302137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108000" tIns="72000" rIns="108000" bIns="72000" rtlCol="0" anchor="t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8" name="Rectangle 20">
            <a:extLst>
              <a:ext uri="{FF2B5EF4-FFF2-40B4-BE49-F238E27FC236}">
                <a16:creationId xmlns="" xmlns:a16="http://schemas.microsoft.com/office/drawing/2014/main" id="{889F75F7-360F-4C14-9E54-62D6E43966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8655" y="1288320"/>
            <a:ext cx="7993137" cy="595164"/>
          </a:xfrm>
          <a:custGeom>
            <a:avLst/>
            <a:gdLst>
              <a:gd name="connsiteX0" fmla="*/ 0 w 7993137"/>
              <a:gd name="connsiteY0" fmla="*/ 0 h 595164"/>
              <a:gd name="connsiteX1" fmla="*/ 7993137 w 7993137"/>
              <a:gd name="connsiteY1" fmla="*/ 0 h 595164"/>
              <a:gd name="connsiteX2" fmla="*/ 7993137 w 7993137"/>
              <a:gd name="connsiteY2" fmla="*/ 595164 h 595164"/>
              <a:gd name="connsiteX3" fmla="*/ 0 w 7993137"/>
              <a:gd name="connsiteY3" fmla="*/ 595164 h 595164"/>
              <a:gd name="connsiteX4" fmla="*/ 0 w 7993137"/>
              <a:gd name="connsiteY4" fmla="*/ 0 h 595164"/>
              <a:gd name="connsiteX0" fmla="*/ 7993137 w 8084577"/>
              <a:gd name="connsiteY0" fmla="*/ 595164 h 686604"/>
              <a:gd name="connsiteX1" fmla="*/ 0 w 8084577"/>
              <a:gd name="connsiteY1" fmla="*/ 595164 h 686604"/>
              <a:gd name="connsiteX2" fmla="*/ 0 w 8084577"/>
              <a:gd name="connsiteY2" fmla="*/ 0 h 686604"/>
              <a:gd name="connsiteX3" fmla="*/ 7993137 w 8084577"/>
              <a:gd name="connsiteY3" fmla="*/ 0 h 686604"/>
              <a:gd name="connsiteX4" fmla="*/ 8084577 w 8084577"/>
              <a:gd name="connsiteY4" fmla="*/ 686604 h 68660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4" fmla="*/ 7993137 w 7993137"/>
              <a:gd name="connsiteY4" fmla="*/ 595164 h 59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93137" h="595164">
                <a:moveTo>
                  <a:pt x="7993137" y="595164"/>
                </a:moveTo>
                <a:lnTo>
                  <a:pt x="0" y="595164"/>
                </a:lnTo>
                <a:lnTo>
                  <a:pt x="0" y="0"/>
                </a:lnTo>
                <a:lnTo>
                  <a:pt x="7993137" y="0"/>
                </a:lnTo>
                <a:lnTo>
                  <a:pt x="7993137" y="595164"/>
                </a:lnTo>
                <a:close/>
              </a:path>
            </a:pathLst>
          </a:custGeom>
          <a:solidFill>
            <a:srgbClr val="FFFFFF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143671" tIns="39977" rIns="79962" bIns="39977" anchor="ctr"/>
          <a:lstStyle/>
          <a:p>
            <a:pPr marL="298450" indent="-298450">
              <a:spcAft>
                <a:spcPts val="0"/>
              </a:spcAft>
            </a:pPr>
            <a:r>
              <a:rPr lang="de-DE" sz="1600" dirty="0">
                <a:latin typeface="+mj-lt"/>
              </a:rPr>
              <a:t>1 – Sofortige Löschung des Accounts von WhatsApp und Snapchat und Deinstallation der Anwendungen auf allen betroffenen mobilen Geräten (COD &amp; BYOD)</a:t>
            </a:r>
          </a:p>
        </p:txBody>
      </p:sp>
      <p:sp>
        <p:nvSpPr>
          <p:cNvPr id="10" name="Rectangle 20">
            <a:extLst>
              <a:ext uri="{FF2B5EF4-FFF2-40B4-BE49-F238E27FC236}">
                <a16:creationId xmlns="" xmlns:a16="http://schemas.microsoft.com/office/drawing/2014/main" id="{94151E02-037A-4260-8720-902158C280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8654" y="2153153"/>
            <a:ext cx="7993137" cy="595164"/>
          </a:xfrm>
          <a:custGeom>
            <a:avLst/>
            <a:gdLst>
              <a:gd name="connsiteX0" fmla="*/ 0 w 7993137"/>
              <a:gd name="connsiteY0" fmla="*/ 0 h 595164"/>
              <a:gd name="connsiteX1" fmla="*/ 7993137 w 7993137"/>
              <a:gd name="connsiteY1" fmla="*/ 0 h 595164"/>
              <a:gd name="connsiteX2" fmla="*/ 7993137 w 7993137"/>
              <a:gd name="connsiteY2" fmla="*/ 595164 h 595164"/>
              <a:gd name="connsiteX3" fmla="*/ 0 w 7993137"/>
              <a:gd name="connsiteY3" fmla="*/ 595164 h 595164"/>
              <a:gd name="connsiteX4" fmla="*/ 0 w 7993137"/>
              <a:gd name="connsiteY4" fmla="*/ 0 h 595164"/>
              <a:gd name="connsiteX0" fmla="*/ 7993137 w 8084577"/>
              <a:gd name="connsiteY0" fmla="*/ 595164 h 686604"/>
              <a:gd name="connsiteX1" fmla="*/ 0 w 8084577"/>
              <a:gd name="connsiteY1" fmla="*/ 595164 h 686604"/>
              <a:gd name="connsiteX2" fmla="*/ 0 w 8084577"/>
              <a:gd name="connsiteY2" fmla="*/ 0 h 686604"/>
              <a:gd name="connsiteX3" fmla="*/ 7993137 w 8084577"/>
              <a:gd name="connsiteY3" fmla="*/ 0 h 686604"/>
              <a:gd name="connsiteX4" fmla="*/ 8084577 w 8084577"/>
              <a:gd name="connsiteY4" fmla="*/ 686604 h 68660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4" fmla="*/ 7993137 w 7993137"/>
              <a:gd name="connsiteY4" fmla="*/ 595164 h 59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93137" h="595164">
                <a:moveTo>
                  <a:pt x="7993137" y="595164"/>
                </a:moveTo>
                <a:lnTo>
                  <a:pt x="0" y="595164"/>
                </a:lnTo>
                <a:lnTo>
                  <a:pt x="0" y="0"/>
                </a:lnTo>
                <a:lnTo>
                  <a:pt x="7993137" y="0"/>
                </a:lnTo>
                <a:lnTo>
                  <a:pt x="7993137" y="595164"/>
                </a:lnTo>
                <a:close/>
              </a:path>
            </a:pathLst>
          </a:custGeom>
          <a:solidFill>
            <a:srgbClr val="FFFFFF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143671" tIns="39977" rIns="79962" bIns="39977" anchor="ctr"/>
          <a:lstStyle/>
          <a:p>
            <a:pPr marL="298450" indent="-298450">
              <a:spcAft>
                <a:spcPts val="0"/>
              </a:spcAft>
            </a:pPr>
            <a:r>
              <a:rPr lang="de-DE" sz="1600" dirty="0">
                <a:latin typeface="+mj-lt"/>
              </a:rPr>
              <a:t>2 – Sofortiges Deaktivieren des Zugriffs auf Kontakte für die Apps* Facebook Messenger, Instagram und LinkedIn</a:t>
            </a:r>
          </a:p>
        </p:txBody>
      </p:sp>
      <p:sp>
        <p:nvSpPr>
          <p:cNvPr id="11" name="Rectangle 20">
            <a:extLst>
              <a:ext uri="{FF2B5EF4-FFF2-40B4-BE49-F238E27FC236}">
                <a16:creationId xmlns="" xmlns:a16="http://schemas.microsoft.com/office/drawing/2014/main" id="{2281F3CE-47C2-4C4B-B01A-5973BE3B8E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9969" y="2967166"/>
            <a:ext cx="7993137" cy="595164"/>
          </a:xfrm>
          <a:custGeom>
            <a:avLst/>
            <a:gdLst>
              <a:gd name="connsiteX0" fmla="*/ 0 w 7993137"/>
              <a:gd name="connsiteY0" fmla="*/ 0 h 595164"/>
              <a:gd name="connsiteX1" fmla="*/ 7993137 w 7993137"/>
              <a:gd name="connsiteY1" fmla="*/ 0 h 595164"/>
              <a:gd name="connsiteX2" fmla="*/ 7993137 w 7993137"/>
              <a:gd name="connsiteY2" fmla="*/ 595164 h 595164"/>
              <a:gd name="connsiteX3" fmla="*/ 0 w 7993137"/>
              <a:gd name="connsiteY3" fmla="*/ 595164 h 595164"/>
              <a:gd name="connsiteX4" fmla="*/ 0 w 7993137"/>
              <a:gd name="connsiteY4" fmla="*/ 0 h 595164"/>
              <a:gd name="connsiteX0" fmla="*/ 7993137 w 8084577"/>
              <a:gd name="connsiteY0" fmla="*/ 595164 h 686604"/>
              <a:gd name="connsiteX1" fmla="*/ 0 w 8084577"/>
              <a:gd name="connsiteY1" fmla="*/ 595164 h 686604"/>
              <a:gd name="connsiteX2" fmla="*/ 0 w 8084577"/>
              <a:gd name="connsiteY2" fmla="*/ 0 h 686604"/>
              <a:gd name="connsiteX3" fmla="*/ 7993137 w 8084577"/>
              <a:gd name="connsiteY3" fmla="*/ 0 h 686604"/>
              <a:gd name="connsiteX4" fmla="*/ 8084577 w 8084577"/>
              <a:gd name="connsiteY4" fmla="*/ 686604 h 68660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0" fmla="*/ 7993137 w 7993137"/>
              <a:gd name="connsiteY0" fmla="*/ 595164 h 595164"/>
              <a:gd name="connsiteX1" fmla="*/ 0 w 7993137"/>
              <a:gd name="connsiteY1" fmla="*/ 595164 h 595164"/>
              <a:gd name="connsiteX2" fmla="*/ 0 w 7993137"/>
              <a:gd name="connsiteY2" fmla="*/ 0 h 595164"/>
              <a:gd name="connsiteX3" fmla="*/ 7993137 w 7993137"/>
              <a:gd name="connsiteY3" fmla="*/ 0 h 595164"/>
              <a:gd name="connsiteX4" fmla="*/ 7993137 w 7993137"/>
              <a:gd name="connsiteY4" fmla="*/ 595164 h 59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93137" h="595164">
                <a:moveTo>
                  <a:pt x="7993137" y="595164"/>
                </a:moveTo>
                <a:lnTo>
                  <a:pt x="0" y="595164"/>
                </a:lnTo>
                <a:lnTo>
                  <a:pt x="0" y="0"/>
                </a:lnTo>
                <a:lnTo>
                  <a:pt x="7993137" y="0"/>
                </a:lnTo>
                <a:lnTo>
                  <a:pt x="7993137" y="595164"/>
                </a:lnTo>
                <a:close/>
              </a:path>
            </a:pathLst>
          </a:custGeom>
          <a:solidFill>
            <a:srgbClr val="FFFFFF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143671" tIns="39977" rIns="79962" bIns="39977" anchor="ctr"/>
          <a:lstStyle/>
          <a:p>
            <a:pPr marL="298450" indent="-298450">
              <a:spcAft>
                <a:spcPts val="0"/>
              </a:spcAft>
            </a:pPr>
            <a:r>
              <a:rPr lang="de-DE" sz="1600" dirty="0">
                <a:latin typeface="+mj-lt"/>
              </a:rPr>
              <a:t>3 – Sofortiges Deaktivieren des Zugriffs auf Kontakte für sonstige installierte Apps*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65ACFF7-D907-447B-BA8E-256D1F47C0E0}"/>
              </a:ext>
            </a:extLst>
          </p:cNvPr>
          <p:cNvSpPr txBox="1"/>
          <p:nvPr/>
        </p:nvSpPr>
        <p:spPr>
          <a:xfrm>
            <a:off x="5629065" y="4053647"/>
            <a:ext cx="36369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i="1" dirty="0">
                <a:solidFill>
                  <a:schemeClr val="dk1"/>
                </a:solidFill>
              </a:rPr>
              <a:t>* Die Anweisungen beginnen ab Folie 5</a:t>
            </a:r>
          </a:p>
        </p:txBody>
      </p:sp>
    </p:spTree>
    <p:extLst>
      <p:ext uri="{BB962C8B-B14F-4D97-AF65-F5344CB8AC3E}">
        <p14:creationId xmlns:p14="http://schemas.microsoft.com/office/powerpoint/2010/main" val="4099778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8BFB2A10-7FF0-4036-912C-B00D68E44853}"/>
              </a:ext>
            </a:extLst>
          </p:cNvPr>
          <p:cNvSpPr/>
          <p:nvPr/>
        </p:nvSpPr>
        <p:spPr>
          <a:xfrm>
            <a:off x="398206" y="1521223"/>
            <a:ext cx="8443452" cy="409441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rgbClr val="FF9E0D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buClr>
                <a:schemeClr val="accent1"/>
              </a:buClr>
              <a:buSzPct val="125000"/>
            </a:pPr>
            <a:r>
              <a:rPr lang="de-DE" sz="1400" dirty="0">
                <a:solidFill>
                  <a:schemeClr val="bg2">
                    <a:lumMod val="10000"/>
                  </a:schemeClr>
                </a:solidFill>
              </a:rPr>
              <a:t>Die Nutzung</a:t>
            </a:r>
            <a:r>
              <a:rPr lang="de-DE" dirty="0"/>
              <a:t> </a:t>
            </a:r>
            <a:r>
              <a:rPr lang="de-DE" sz="1400" dirty="0">
                <a:solidFill>
                  <a:schemeClr val="bg2">
                    <a:lumMod val="10000"/>
                  </a:schemeClr>
                </a:solidFill>
              </a:rPr>
              <a:t>von WhatsApp und Snapchat auf mobilen Geräten von Continental ist untersagt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5365569-7A39-4E37-8339-82337D15B3C9}"/>
              </a:ext>
            </a:extLst>
          </p:cNvPr>
          <p:cNvSpPr/>
          <p:nvPr/>
        </p:nvSpPr>
        <p:spPr>
          <a:xfrm>
            <a:off x="373166" y="3290078"/>
            <a:ext cx="8446322" cy="336702"/>
          </a:xfrm>
          <a:prstGeom prst="rect">
            <a:avLst/>
          </a:prstGeom>
          <a:solidFill>
            <a:srgbClr val="FFB34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de-DE" sz="1600" b="1" dirty="0">
                <a:solidFill>
                  <a:schemeClr val="bg1"/>
                </a:solidFill>
              </a:rPr>
              <a:t>01. August 2018: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7675BB14-F669-4056-A37F-B44529C79DD7}"/>
              </a:ext>
            </a:extLst>
          </p:cNvPr>
          <p:cNvSpPr/>
          <p:nvPr/>
        </p:nvSpPr>
        <p:spPr>
          <a:xfrm>
            <a:off x="392834" y="2014413"/>
            <a:ext cx="8446322" cy="336702"/>
          </a:xfrm>
          <a:prstGeom prst="rect">
            <a:avLst/>
          </a:prstGeom>
          <a:solidFill>
            <a:srgbClr val="FFB34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de-DE" sz="1600" b="1" dirty="0">
                <a:solidFill>
                  <a:schemeClr val="bg1"/>
                </a:solidFill>
              </a:rPr>
              <a:t>01. Juli 2018: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62F9E2C-36AA-48B3-BDCD-448DD2E6FCAC}"/>
              </a:ext>
            </a:extLst>
          </p:cNvPr>
          <p:cNvSpPr/>
          <p:nvPr/>
        </p:nvSpPr>
        <p:spPr>
          <a:xfrm>
            <a:off x="395289" y="1205713"/>
            <a:ext cx="8446322" cy="336702"/>
          </a:xfrm>
          <a:prstGeom prst="rect">
            <a:avLst/>
          </a:prstGeom>
          <a:solidFill>
            <a:srgbClr val="FFB34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de-DE" sz="1600" b="1" dirty="0">
                <a:solidFill>
                  <a:schemeClr val="bg1"/>
                </a:solidFill>
              </a:rPr>
              <a:t>04. Juni 2018: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EC63C56-4AC5-4382-90A0-30D13A685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748711" cy="720725"/>
          </a:xfrm>
        </p:spPr>
        <p:txBody>
          <a:bodyPr/>
          <a:lstStyle/>
          <a:p>
            <a:r>
              <a:rPr lang="de-DE" dirty="0"/>
              <a:t>Deinstallation von </a:t>
            </a:r>
            <a:r>
              <a:rPr lang="de-DE" dirty="0" err="1"/>
              <a:t>Snapchat</a:t>
            </a:r>
            <a:r>
              <a:rPr lang="de-DE" dirty="0"/>
              <a:t> und WhatsApp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tx1"/>
                </a:solidFill>
              </a:rPr>
              <a:t>Was geschieht, wenn Benutzer</a:t>
            </a:r>
            <a:r>
              <a:rPr lang="de-DE" dirty="0"/>
              <a:t> </a:t>
            </a:r>
            <a:r>
              <a:rPr lang="de-DE" b="0" dirty="0">
                <a:solidFill>
                  <a:schemeClr val="tx1"/>
                </a:solidFill>
              </a:rPr>
              <a:t>diese Apps nicht deinstallieren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54A53A7-AA88-4B17-8D35-D697324A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CC8F66E-92D8-4281-AE4D-08481317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6BA14D5-53A7-43EB-A750-D2A772074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4</a:t>
            </a:fld>
            <a:endParaRPr lang="de-DE" altLang="en-US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834884E-5525-4F27-8C44-DAEBBE411C67}"/>
              </a:ext>
            </a:extLst>
          </p:cNvPr>
          <p:cNvSpPr/>
          <p:nvPr/>
        </p:nvSpPr>
        <p:spPr>
          <a:xfrm>
            <a:off x="392834" y="2351114"/>
            <a:ext cx="8441449" cy="821399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rgbClr val="FF9E0D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buClr>
                <a:schemeClr val="accent1"/>
              </a:buClr>
              <a:buSzPct val="125000"/>
            </a:pPr>
            <a:r>
              <a:rPr lang="de-DE" sz="1400" dirty="0">
                <a:solidFill>
                  <a:schemeClr val="bg2">
                    <a:lumMod val="10000"/>
                  </a:schemeClr>
                </a:solidFill>
              </a:rPr>
              <a:t>Mobile Geräte</a:t>
            </a:r>
            <a:r>
              <a:rPr lang="de-DE" sz="1400" dirty="0">
                <a:solidFill>
                  <a:schemeClr val="dk1"/>
                </a:solidFill>
              </a:rPr>
              <a:t>, auf denen die Apps noch immer installiert sind, werden vom Continental Netzwerk (</a:t>
            </a:r>
            <a:r>
              <a:rPr lang="de-DE" sz="1400" dirty="0" err="1">
                <a:solidFill>
                  <a:schemeClr val="dk1"/>
                </a:solidFill>
              </a:rPr>
              <a:t>MobileIron</a:t>
            </a:r>
            <a:r>
              <a:rPr lang="de-DE" sz="1400" dirty="0">
                <a:solidFill>
                  <a:schemeClr val="dk1"/>
                </a:solidFill>
              </a:rPr>
              <a:t>) getrennt. Die Synchronisation von </a:t>
            </a:r>
            <a:r>
              <a:rPr lang="de-DE" sz="1400" dirty="0"/>
              <a:t>E-Mails, Kontakten und Kalendern sowie der Zugriff auf Anwendungen wie </a:t>
            </a:r>
            <a:r>
              <a:rPr lang="de-DE" sz="1400" dirty="0" err="1"/>
              <a:t>ConNext</a:t>
            </a:r>
            <a:r>
              <a:rPr lang="de-DE" sz="1400" dirty="0"/>
              <a:t> wird blockiert.</a:t>
            </a:r>
            <a:endParaRPr lang="de-DE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9EEA7898-F220-4548-AFCB-375D7D201335}"/>
              </a:ext>
            </a:extLst>
          </p:cNvPr>
          <p:cNvSpPr/>
          <p:nvPr/>
        </p:nvSpPr>
        <p:spPr>
          <a:xfrm>
            <a:off x="373165" y="3626780"/>
            <a:ext cx="8446322" cy="558709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rgbClr val="FF9E0D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de-DE" sz="1400" dirty="0">
                <a:solidFill>
                  <a:schemeClr val="dk1"/>
                </a:solidFill>
              </a:rPr>
              <a:t>Auf allen </a:t>
            </a:r>
            <a:r>
              <a:rPr lang="de-DE" sz="1400" dirty="0">
                <a:solidFill>
                  <a:schemeClr val="bg2">
                    <a:lumMod val="10000"/>
                  </a:schemeClr>
                </a:solidFill>
              </a:rPr>
              <a:t>mobilen Geräten</a:t>
            </a:r>
            <a:r>
              <a:rPr lang="de-DE" dirty="0"/>
              <a:t>, </a:t>
            </a:r>
            <a:r>
              <a:rPr lang="de-DE" sz="1400" dirty="0">
                <a:solidFill>
                  <a:schemeClr val="dk1"/>
                </a:solidFill>
              </a:rPr>
              <a:t>auf denen Snapchat und WhatsApp weiterhin installiert ist,</a:t>
            </a:r>
            <a:r>
              <a:rPr lang="de-DE" dirty="0"/>
              <a:t> </a:t>
            </a:r>
            <a:r>
              <a:rPr lang="de-DE" sz="1400" dirty="0">
                <a:solidFill>
                  <a:schemeClr val="dk1"/>
                </a:solidFill>
              </a:rPr>
              <a:t>werden die Continental Daten per Fernlöschung vollständig entfernt.</a:t>
            </a:r>
          </a:p>
        </p:txBody>
      </p:sp>
    </p:spTree>
    <p:extLst>
      <p:ext uri="{BB962C8B-B14F-4D97-AF65-F5344CB8AC3E}">
        <p14:creationId xmlns:p14="http://schemas.microsoft.com/office/powerpoint/2010/main" val="899074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EC63C56-4AC5-4382-90A0-30D13A685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isungen für mobile Geräte mit dem</a:t>
            </a:r>
            <a:br>
              <a:rPr lang="de-DE" dirty="0"/>
            </a:br>
            <a:r>
              <a:rPr lang="de-DE" dirty="0"/>
              <a:t>Betriebssystem iOS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54A53A7-AA88-4B17-8D35-D697324A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CC8F66E-92D8-4281-AE4D-08481317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6BA14D5-53A7-43EB-A750-D2A772074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5</a:t>
            </a:fld>
            <a:endParaRPr lang="de-DE" altLang="en-US"/>
          </a:p>
        </p:txBody>
      </p:sp>
      <p:cxnSp>
        <p:nvCxnSpPr>
          <p:cNvPr id="31" name="Gerade Verbindung 87">
            <a:extLst>
              <a:ext uri="{FF2B5EF4-FFF2-40B4-BE49-F238E27FC236}">
                <a16:creationId xmlns="" xmlns:a16="http://schemas.microsoft.com/office/drawing/2014/main" id="{B712F212-1E42-4D14-AD5F-5B9C5037CED0}"/>
              </a:ext>
            </a:extLst>
          </p:cNvPr>
          <p:cNvCxnSpPr/>
          <p:nvPr/>
        </p:nvCxnSpPr>
        <p:spPr bwMode="gray">
          <a:xfrm>
            <a:off x="466748" y="4985961"/>
            <a:ext cx="6913564" cy="0"/>
          </a:xfrm>
          <a:prstGeom prst="line">
            <a:avLst/>
          </a:prstGeom>
          <a:ln w="9525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6EE3872-3E47-4AF1-87CF-E8EFAE17B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2463" y="904878"/>
            <a:ext cx="4291781" cy="3218836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="" xmlns:a16="http://schemas.microsoft.com/office/drawing/2014/main" id="{0A60CCFA-43AC-4771-82DA-7760ED908F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7656" y="1450102"/>
            <a:ext cx="1195540" cy="209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855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5DE9A8CC-8DD4-4F8C-8CBA-954F4DFC0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023" y="1243740"/>
            <a:ext cx="1524000" cy="271068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E75804E3-5B32-47C6-9F3F-905E99182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4083" y="1243740"/>
            <a:ext cx="1571625" cy="279539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0F045BAC-FDD3-492C-BFD4-CD5F37197A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4721" y="1174050"/>
            <a:ext cx="1571625" cy="27953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70D04116-8798-4F2F-9155-639A489A4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226423"/>
            <a:ext cx="8353425" cy="714103"/>
          </a:xfrm>
        </p:spPr>
        <p:txBody>
          <a:bodyPr/>
          <a:lstStyle/>
          <a:p>
            <a:r>
              <a:rPr lang="en-US" dirty="0"/>
              <a:t>Deinstallation von WhatsApp</a:t>
            </a:r>
            <a:br>
              <a:rPr lang="en-US" dirty="0"/>
            </a:br>
            <a:r>
              <a:rPr lang="en-US" b="0" dirty="0" err="1">
                <a:solidFill>
                  <a:schemeClr val="tx1"/>
                </a:solidFill>
              </a:rPr>
              <a:t>Wie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err="1">
                <a:solidFill>
                  <a:schemeClr val="tx1"/>
                </a:solidFill>
              </a:rPr>
              <a:t>wird</a:t>
            </a:r>
            <a:r>
              <a:rPr lang="en-US" b="0" dirty="0">
                <a:solidFill>
                  <a:schemeClr val="tx1"/>
                </a:solidFill>
              </a:rPr>
              <a:t> der WhatsApp </a:t>
            </a:r>
            <a:r>
              <a:rPr lang="en-US" b="0" dirty="0" err="1">
                <a:solidFill>
                  <a:schemeClr val="tx1"/>
                </a:solidFill>
              </a:rPr>
              <a:t>Benutzeraccount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err="1">
                <a:solidFill>
                  <a:schemeClr val="tx1"/>
                </a:solidFill>
              </a:rPr>
              <a:t>gelöscht</a:t>
            </a:r>
            <a:r>
              <a:rPr lang="de-DE" b="0" dirty="0">
                <a:solidFill>
                  <a:schemeClr val="tx1"/>
                </a:solidFill>
              </a:rPr>
              <a:t>?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D942A23-95E3-4771-92CD-BF84F128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35EE0A0-EB92-4672-A04B-11D7E1CD4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08DDD25-2129-4D86-B8D4-84AFA92DE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  <p:pic>
        <p:nvPicPr>
          <p:cNvPr id="11" name="Graphic 10" descr="Arrow: Slight curve">
            <a:extLst>
              <a:ext uri="{FF2B5EF4-FFF2-40B4-BE49-F238E27FC236}">
                <a16:creationId xmlns="" xmlns:a16="http://schemas.microsoft.com/office/drawing/2014/main" id="{16620D99-3245-4A65-B9C8-BD70D05BE6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64693" y="2534518"/>
            <a:ext cx="914400" cy="914400"/>
          </a:xfrm>
          <a:prstGeom prst="rect">
            <a:avLst/>
          </a:prstGeom>
        </p:spPr>
      </p:pic>
      <p:sp>
        <p:nvSpPr>
          <p:cNvPr id="12" name="Speech Bubble: Rectangle with Corners Rounded 11">
            <a:extLst>
              <a:ext uri="{FF2B5EF4-FFF2-40B4-BE49-F238E27FC236}">
                <a16:creationId xmlns="" xmlns:a16="http://schemas.microsoft.com/office/drawing/2014/main" id="{48A08280-4561-4764-B79E-F5D02A54B45B}"/>
              </a:ext>
            </a:extLst>
          </p:cNvPr>
          <p:cNvSpPr/>
          <p:nvPr/>
        </p:nvSpPr>
        <p:spPr>
          <a:xfrm>
            <a:off x="2337628" y="1412876"/>
            <a:ext cx="979951" cy="734441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Öffnen der WhatsApp </a:t>
            </a:r>
            <a:r>
              <a:rPr lang="de-DE" sz="1200" dirty="0" err="1">
                <a:solidFill>
                  <a:schemeClr val="bg2">
                    <a:lumMod val="10000"/>
                  </a:schemeClr>
                </a:solidFill>
              </a:rPr>
              <a:t>Einstel</a:t>
            </a:r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-lung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AutoShape 2" descr="https://mail.google.com/mail/u/0/?ui=2&amp;ik=2acc5bdb70&amp;view=fimg&amp;th=163b539e2d6f796e&amp;attid=0.1.1&amp;disp=emb&amp;attbid=ANGjdJ_XSU7bdNU-B7Njk6DfEUfQgNwIUG8xEgZ3nwifBMAn7eqtgnnjm6nrtVztGbvf-j513aC1MFI4skGdiQKOyLcECftXoIFnPKFTb8n_RJZsF_wojYEPor2LAzA&amp;sz=s0-l75-ft&amp;ats=1527753879600&amp;rm=163b539e2d6f796e&amp;zw&amp;atsh=1">
            <a:extLst>
              <a:ext uri="{FF2B5EF4-FFF2-40B4-BE49-F238E27FC236}">
                <a16:creationId xmlns="" xmlns:a16="http://schemas.microsoft.com/office/drawing/2014/main" id="{1BCCAA47-C442-46D6-A652-D809C16D912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Graphic 16" descr="Arrow: Slight curve">
            <a:extLst>
              <a:ext uri="{FF2B5EF4-FFF2-40B4-BE49-F238E27FC236}">
                <a16:creationId xmlns="" xmlns:a16="http://schemas.microsoft.com/office/drawing/2014/main" id="{323FBF2D-303B-4427-8846-D1C1D6C466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86188" y="2114550"/>
            <a:ext cx="914400" cy="914400"/>
          </a:xfrm>
          <a:prstGeom prst="rect">
            <a:avLst/>
          </a:prstGeom>
        </p:spPr>
      </p:pic>
      <p:sp>
        <p:nvSpPr>
          <p:cNvPr id="21" name="Speech Bubble: Rectangle with Corners Rounded 20">
            <a:extLst>
              <a:ext uri="{FF2B5EF4-FFF2-40B4-BE49-F238E27FC236}">
                <a16:creationId xmlns="" xmlns:a16="http://schemas.microsoft.com/office/drawing/2014/main" id="{4E3F106C-7A68-4BF4-AEA2-4F7FB6035A25}"/>
              </a:ext>
            </a:extLst>
          </p:cNvPr>
          <p:cNvSpPr/>
          <p:nvPr/>
        </p:nvSpPr>
        <p:spPr>
          <a:xfrm>
            <a:off x="7860479" y="940526"/>
            <a:ext cx="1218206" cy="1845922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6213" indent="-176213">
              <a:buAutoNum type="arabicPeriod"/>
            </a:pP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Eingabe</a:t>
            </a: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geschäft-liche</a:t>
            </a: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Telefon-nummer</a:t>
            </a:r>
            <a:endParaRPr lang="en-US" sz="1100" dirty="0">
              <a:solidFill>
                <a:schemeClr val="bg2">
                  <a:lumMod val="10000"/>
                </a:schemeClr>
              </a:solidFill>
            </a:endParaRPr>
          </a:p>
          <a:p>
            <a:pPr marL="176213" indent="-176213">
              <a:buAutoNum type="arabicPeriod"/>
            </a:pP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Klicken</a:t>
            </a: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 Sie auf “</a:t>
            </a: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Meinen</a:t>
            </a: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 Account </a:t>
            </a:r>
            <a:r>
              <a:rPr lang="en-US" sz="1100" dirty="0" err="1">
                <a:solidFill>
                  <a:schemeClr val="bg2">
                    <a:lumMod val="10000"/>
                  </a:schemeClr>
                </a:solidFill>
              </a:rPr>
              <a:t>löschen</a:t>
            </a: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”</a:t>
            </a:r>
          </a:p>
        </p:txBody>
      </p:sp>
      <p:pic>
        <p:nvPicPr>
          <p:cNvPr id="25" name="Graphic 24" descr="Right Pointing Backhand Index ">
            <a:extLst>
              <a:ext uri="{FF2B5EF4-FFF2-40B4-BE49-F238E27FC236}">
                <a16:creationId xmlns="" xmlns:a16="http://schemas.microsoft.com/office/drawing/2014/main" id="{C5C650DA-F47B-4E73-9FAE-5B43911DF4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3879806">
            <a:off x="1043208" y="2741814"/>
            <a:ext cx="640080" cy="640080"/>
          </a:xfrm>
          <a:prstGeom prst="rect">
            <a:avLst/>
          </a:prstGeom>
        </p:spPr>
      </p:pic>
      <p:pic>
        <p:nvPicPr>
          <p:cNvPr id="26" name="Graphic 25" descr="Right Pointing Backhand Index ">
            <a:extLst>
              <a:ext uri="{FF2B5EF4-FFF2-40B4-BE49-F238E27FC236}">
                <a16:creationId xmlns="" xmlns:a16="http://schemas.microsoft.com/office/drawing/2014/main" id="{EC2BAEF4-DE43-4C3A-B385-71E0F44A36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3879806">
            <a:off x="4315837" y="2721122"/>
            <a:ext cx="640080" cy="640080"/>
          </a:xfrm>
          <a:prstGeom prst="rect">
            <a:avLst/>
          </a:prstGeom>
        </p:spPr>
      </p:pic>
      <p:pic>
        <p:nvPicPr>
          <p:cNvPr id="27" name="Graphic 26" descr="Right Pointing Backhand Index ">
            <a:extLst>
              <a:ext uri="{FF2B5EF4-FFF2-40B4-BE49-F238E27FC236}">
                <a16:creationId xmlns="" xmlns:a16="http://schemas.microsoft.com/office/drawing/2014/main" id="{0761AC4B-616C-4EF1-98AA-E1D304220A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3879806">
            <a:off x="7342226" y="2917842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777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installation von WhatsApp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dk1"/>
                </a:solidFill>
              </a:rPr>
              <a:t>Löschung von WhatsApp auf einem iPhon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7</a:t>
            </a:fld>
            <a:endParaRPr lang="de-DE" alt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2C829B8B-53A3-49D2-9E33-AA79B06E4A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7612" y="1412876"/>
            <a:ext cx="1542279" cy="2743200"/>
          </a:xfrm>
          <a:prstGeom prst="rect">
            <a:avLst/>
          </a:prstGeom>
        </p:spPr>
      </p:pic>
      <p:pic>
        <p:nvPicPr>
          <p:cNvPr id="20" name="Graphic 19" descr="Right Pointing Backhand Index ">
            <a:extLst>
              <a:ext uri="{FF2B5EF4-FFF2-40B4-BE49-F238E27FC236}">
                <a16:creationId xmlns="" xmlns:a16="http://schemas.microsoft.com/office/drawing/2014/main" id="{EF43CDE0-6EFD-4023-902A-C632F995BD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3592943" y="2415007"/>
            <a:ext cx="914400" cy="914400"/>
          </a:xfrm>
          <a:prstGeom prst="rect">
            <a:avLst/>
          </a:prstGeom>
        </p:spPr>
      </p:pic>
      <p:pic>
        <p:nvPicPr>
          <p:cNvPr id="21" name="Graphic 20" descr="Arrow: Slight curve">
            <a:extLst>
              <a:ext uri="{FF2B5EF4-FFF2-40B4-BE49-F238E27FC236}">
                <a16:creationId xmlns="" xmlns:a16="http://schemas.microsoft.com/office/drawing/2014/main" id="{CA862967-30FA-4CC5-8DE3-E1440F16A2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05472" y="2305428"/>
            <a:ext cx="914400" cy="9144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97CB24FA-FC9C-4F63-8EC1-0AABF23C3E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0428" y="1412876"/>
            <a:ext cx="1542278" cy="2743200"/>
          </a:xfrm>
          <a:prstGeom prst="rect">
            <a:avLst/>
          </a:prstGeom>
        </p:spPr>
      </p:pic>
      <p:pic>
        <p:nvPicPr>
          <p:cNvPr id="23" name="Graphic 22" descr="Right Pointing Backhand Index ">
            <a:extLst>
              <a:ext uri="{FF2B5EF4-FFF2-40B4-BE49-F238E27FC236}">
                <a16:creationId xmlns="" xmlns:a16="http://schemas.microsoft.com/office/drawing/2014/main" id="{1159C029-02AC-47A3-994E-7D0371EAB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880400" y="2463271"/>
            <a:ext cx="914400" cy="914400"/>
          </a:xfrm>
          <a:prstGeom prst="rect">
            <a:avLst/>
          </a:prstGeom>
        </p:spPr>
      </p:pic>
      <p:pic>
        <p:nvPicPr>
          <p:cNvPr id="24" name="Graphic 23" descr="Arrow: Slight curve">
            <a:extLst>
              <a:ext uri="{FF2B5EF4-FFF2-40B4-BE49-F238E27FC236}">
                <a16:creationId xmlns="" xmlns:a16="http://schemas.microsoft.com/office/drawing/2014/main" id="{69540D85-E6FF-4BF3-B21B-9BF3D58D8F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2080" y="2290639"/>
            <a:ext cx="914400" cy="9144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7412266D-C2A9-4554-8526-55C7F76CEA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5301" y="1421768"/>
            <a:ext cx="1542279" cy="2743200"/>
          </a:xfrm>
          <a:prstGeom prst="rect">
            <a:avLst/>
          </a:prstGeom>
        </p:spPr>
      </p:pic>
      <p:sp>
        <p:nvSpPr>
          <p:cNvPr id="26" name="Speech Bubble: Rectangle with Corners Rounded 25">
            <a:extLst>
              <a:ext uri="{FF2B5EF4-FFF2-40B4-BE49-F238E27FC236}">
                <a16:creationId xmlns="" xmlns:a16="http://schemas.microsoft.com/office/drawing/2014/main" id="{5A053D63-0B1E-427A-8470-7065C1188812}"/>
              </a:ext>
            </a:extLst>
          </p:cNvPr>
          <p:cNvSpPr/>
          <p:nvPr/>
        </p:nvSpPr>
        <p:spPr>
          <a:xfrm>
            <a:off x="2394486" y="1411136"/>
            <a:ext cx="1127429" cy="991374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Das Symbol der App etwas länger sanft berühren</a:t>
            </a: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="" xmlns:a16="http://schemas.microsoft.com/office/drawing/2014/main" id="{24828FAD-23D5-42A7-B10E-6F9B57D813B5}"/>
              </a:ext>
            </a:extLst>
          </p:cNvPr>
          <p:cNvSpPr/>
          <p:nvPr/>
        </p:nvSpPr>
        <p:spPr>
          <a:xfrm>
            <a:off x="5312442" y="1424002"/>
            <a:ext cx="979951" cy="892059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Auf das „x“ tippen, um die App zu löschen</a:t>
            </a:r>
          </a:p>
        </p:txBody>
      </p:sp>
    </p:spTree>
    <p:extLst>
      <p:ext uri="{BB962C8B-B14F-4D97-AF65-F5344CB8AC3E}">
        <p14:creationId xmlns:p14="http://schemas.microsoft.com/office/powerpoint/2010/main" val="1250127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4DA969-B93A-44A9-A7F9-F81624BD5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129262"/>
            <a:ext cx="8353425" cy="1038872"/>
          </a:xfrm>
        </p:spPr>
        <p:txBody>
          <a:bodyPr/>
          <a:lstStyle/>
          <a:p>
            <a:r>
              <a:rPr lang="en-US" dirty="0"/>
              <a:t>Deinstallation von Snapchat</a:t>
            </a:r>
            <a:br>
              <a:rPr lang="en-US" dirty="0"/>
            </a:br>
            <a:r>
              <a:rPr lang="en-US" sz="2000" b="0" dirty="0" err="1">
                <a:solidFill>
                  <a:schemeClr val="tx1"/>
                </a:solidFill>
              </a:rPr>
              <a:t>Löschung</a:t>
            </a:r>
            <a:r>
              <a:rPr lang="en-US" sz="2000" b="0" dirty="0">
                <a:solidFill>
                  <a:schemeClr val="tx1"/>
                </a:solidFill>
              </a:rPr>
              <a:t> des </a:t>
            </a:r>
            <a:r>
              <a:rPr lang="en-US" sz="2000" b="0" dirty="0">
                <a:solidFill>
                  <a:schemeClr val="dk1"/>
                </a:solidFill>
              </a:rPr>
              <a:t>Snapchat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Benutzeraccounts</a:t>
            </a:r>
            <a:r>
              <a:rPr lang="de-DE" b="0" dirty="0">
                <a:solidFill>
                  <a:schemeClr val="tx1"/>
                </a:solidFill>
              </a:rPr>
              <a:t/>
            </a:r>
            <a:br>
              <a:rPr lang="de-DE" b="0" dirty="0">
                <a:solidFill>
                  <a:schemeClr val="tx1"/>
                </a:solidFill>
              </a:rPr>
            </a:br>
            <a:r>
              <a:rPr lang="de-DE" sz="1200" b="0" dirty="0">
                <a:solidFill>
                  <a:schemeClr val="tx1"/>
                </a:solidFill>
              </a:rPr>
              <a:t>                 Geben Sie folgende URL ein: </a:t>
            </a:r>
            <a:r>
              <a:rPr lang="en-IN" sz="1200" b="0" dirty="0"/>
              <a:t> </a:t>
            </a:r>
            <a:r>
              <a:rPr lang="en-IN" sz="1200" b="0" dirty="0">
                <a:hlinkClick r:id="rId2"/>
              </a:rPr>
              <a:t>https://support.snapchat.com/delete-account</a:t>
            </a:r>
            <a:r>
              <a:rPr lang="en-IN" sz="1200" b="0" dirty="0"/>
              <a:t> </a:t>
            </a:r>
            <a:endParaRPr lang="en-US" sz="1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B18FDC09-EA14-43F6-A584-635F46590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4,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EC452B4-0457-4F07-8245-EE554468A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97E9329-2386-42A0-B0BB-FF4C6587E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="" xmlns:a16="http://schemas.microsoft.com/office/drawing/2014/main" id="{29245AF5-8E33-418C-A4C0-ED135B5E2D6F}"/>
              </a:ext>
            </a:extLst>
          </p:cNvPr>
          <p:cNvSpPr/>
          <p:nvPr/>
        </p:nvSpPr>
        <p:spPr>
          <a:xfrm>
            <a:off x="2286513" y="1765005"/>
            <a:ext cx="979951" cy="734441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Firmen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-Email und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Passwort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eingeb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="" xmlns:a16="http://schemas.microsoft.com/office/drawing/2014/main" id="{451C11A4-52EB-4F24-9E2B-C276807FCD2B}"/>
              </a:ext>
            </a:extLst>
          </p:cNvPr>
          <p:cNvSpPr/>
          <p:nvPr/>
        </p:nvSpPr>
        <p:spPr>
          <a:xfrm>
            <a:off x="5515754" y="1394253"/>
            <a:ext cx="1010308" cy="995432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Benutzer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-name und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Passwort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eingeben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5" name="Graphic 14" descr="Arrow: Slight curve">
            <a:extLst>
              <a:ext uri="{FF2B5EF4-FFF2-40B4-BE49-F238E27FC236}">
                <a16:creationId xmlns="" xmlns:a16="http://schemas.microsoft.com/office/drawing/2014/main" id="{6C7E4B76-0697-432A-B1D5-E737516E33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4903" y="2843836"/>
            <a:ext cx="914400" cy="914400"/>
          </a:xfrm>
          <a:prstGeom prst="rect">
            <a:avLst/>
          </a:prstGeom>
        </p:spPr>
      </p:pic>
      <p:pic>
        <p:nvPicPr>
          <p:cNvPr id="17" name="Graphic 16" descr="Arrow: Slight curve">
            <a:extLst>
              <a:ext uri="{FF2B5EF4-FFF2-40B4-BE49-F238E27FC236}">
                <a16:creationId xmlns="" xmlns:a16="http://schemas.microsoft.com/office/drawing/2014/main" id="{0F4DA823-09C9-44A1-B779-47A54D9597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2780" y="2872347"/>
            <a:ext cx="914400" cy="914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FAD90957-9492-4B03-8AE1-BBB876EE8A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767" y="1346795"/>
            <a:ext cx="1428750" cy="254127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EC72B289-4130-4D04-AB4D-4778161C4C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96361" y="1313651"/>
            <a:ext cx="1524000" cy="271068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C4BF3074-4414-43AF-8D18-0E8FB0322B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59600" y="1346795"/>
            <a:ext cx="1428750" cy="2541270"/>
          </a:xfrm>
          <a:prstGeom prst="rect">
            <a:avLst/>
          </a:prstGeom>
        </p:spPr>
      </p:pic>
      <p:pic>
        <p:nvPicPr>
          <p:cNvPr id="30" name="Graphic 29" descr="Right Pointing Backhand Index ">
            <a:extLst>
              <a:ext uri="{FF2B5EF4-FFF2-40B4-BE49-F238E27FC236}">
                <a16:creationId xmlns="" xmlns:a16="http://schemas.microsoft.com/office/drawing/2014/main" id="{5590F6B6-0FEE-493E-B7FD-EE3A224733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3879806">
            <a:off x="1552808" y="3336266"/>
            <a:ext cx="640080" cy="640080"/>
          </a:xfrm>
          <a:prstGeom prst="rect">
            <a:avLst/>
          </a:prstGeom>
        </p:spPr>
      </p:pic>
      <p:pic>
        <p:nvPicPr>
          <p:cNvPr id="31" name="Graphic 30" descr="Right Pointing Backhand Index ">
            <a:extLst>
              <a:ext uri="{FF2B5EF4-FFF2-40B4-BE49-F238E27FC236}">
                <a16:creationId xmlns="" xmlns:a16="http://schemas.microsoft.com/office/drawing/2014/main" id="{4268C46D-DAE7-4986-938E-141DBB30ED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3879806">
            <a:off x="4745147" y="3504682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263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1D4AB4-CC18-4BD6-ADC4-300BCCAAA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installation von Snapchat</a:t>
            </a:r>
            <a:r>
              <a:rPr dirty="0"/>
              <a:t/>
            </a:r>
            <a:br>
              <a:rPr dirty="0"/>
            </a:br>
            <a:r>
              <a:rPr lang="de-DE" b="0" dirty="0">
                <a:solidFill>
                  <a:schemeClr val="dk1"/>
                </a:solidFill>
              </a:rPr>
              <a:t>Löschung von Snapchat auf einem iPhon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4539264-B505-430A-907D-8B1B70BFC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4. Juni 2018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F92A9F4-0D31-4787-90A4-782E19DC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orporate IT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231F791-99F5-48DA-A4D9-BE3E1CCDA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C37FC-6C11-4C48-A88B-FBA9873FFCBE}" type="slidenum">
              <a:rPr lang="en-US" altLang="en-US" smtClean="0"/>
              <a:pPr>
                <a:defRPr/>
              </a:pPr>
              <a:t>9</a:t>
            </a:fld>
            <a:endParaRPr lang="de-DE" alt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D19CB17-B733-4BAD-9A26-332F925A2802}"/>
              </a:ext>
            </a:extLst>
          </p:cNvPr>
          <p:cNvSpPr/>
          <p:nvPr/>
        </p:nvSpPr>
        <p:spPr>
          <a:xfrm>
            <a:off x="-36512" y="1065281"/>
            <a:ext cx="8353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0"/>
              </a:spcAft>
              <a:buFont typeface="+mj-lt"/>
              <a:buAutoNum type="alphaLcPeriod"/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arenR"/>
            </a:pPr>
            <a:endParaRPr lang="en-US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C6234481-3142-4F04-ACBB-74B1B194534C}"/>
              </a:ext>
            </a:extLst>
          </p:cNvPr>
          <p:cNvSpPr txBox="1">
            <a:spLocks/>
          </p:cNvSpPr>
          <p:nvPr/>
        </p:nvSpPr>
        <p:spPr>
          <a:xfrm>
            <a:off x="395288" y="1347788"/>
            <a:ext cx="8209160" cy="2808288"/>
          </a:xfrm>
          <a:prstGeom prst="rect">
            <a:avLst/>
          </a:prstGeom>
        </p:spPr>
        <p:txBody>
          <a:bodyPr/>
          <a:lstStyle>
            <a:lvl1pPr marL="177800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rtl="0" eaLnBrk="0" fontAlgn="base" hangingPunct="0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Aft>
                <a:spcPts val="0"/>
              </a:spcAft>
              <a:buNone/>
            </a:pP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AEEA5056-6CB4-483A-8879-DFC0F1820F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2544" y="1412876"/>
            <a:ext cx="1542279" cy="2743200"/>
          </a:xfrm>
          <a:prstGeom prst="rect">
            <a:avLst/>
          </a:prstGeom>
        </p:spPr>
      </p:pic>
      <p:pic>
        <p:nvPicPr>
          <p:cNvPr id="11" name="Graphic 10" descr="Right Pointing Backhand Index ">
            <a:extLst>
              <a:ext uri="{FF2B5EF4-FFF2-40B4-BE49-F238E27FC236}">
                <a16:creationId xmlns="" xmlns:a16="http://schemas.microsoft.com/office/drawing/2014/main" id="{72C92BE0-FE27-4C8F-96BE-0B51776BDB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3831011" y="2415007"/>
            <a:ext cx="914400" cy="914400"/>
          </a:xfrm>
          <a:prstGeom prst="rect">
            <a:avLst/>
          </a:prstGeom>
        </p:spPr>
      </p:pic>
      <p:pic>
        <p:nvPicPr>
          <p:cNvPr id="12" name="Graphic 11" descr="Arrow: Slight curve">
            <a:extLst>
              <a:ext uri="{FF2B5EF4-FFF2-40B4-BE49-F238E27FC236}">
                <a16:creationId xmlns="" xmlns:a16="http://schemas.microsoft.com/office/drawing/2014/main" id="{924ED971-A53C-47A5-BFDB-E1337380F5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70404" y="2305428"/>
            <a:ext cx="914400" cy="914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C7081B1-83DD-413F-8DC6-BDF1DE7E5F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360" y="1412876"/>
            <a:ext cx="1542278" cy="2743200"/>
          </a:xfrm>
          <a:prstGeom prst="rect">
            <a:avLst/>
          </a:prstGeom>
        </p:spPr>
      </p:pic>
      <p:pic>
        <p:nvPicPr>
          <p:cNvPr id="14" name="Graphic 13" descr="Right Pointing Backhand Index ">
            <a:extLst>
              <a:ext uri="{FF2B5EF4-FFF2-40B4-BE49-F238E27FC236}">
                <a16:creationId xmlns="" xmlns:a16="http://schemas.microsoft.com/office/drawing/2014/main" id="{2495CA7D-EAB4-4451-9495-F86F7C418A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879806">
            <a:off x="1097920" y="2498487"/>
            <a:ext cx="914400" cy="914400"/>
          </a:xfrm>
          <a:prstGeom prst="rect">
            <a:avLst/>
          </a:prstGeom>
        </p:spPr>
      </p:pic>
      <p:pic>
        <p:nvPicPr>
          <p:cNvPr id="15" name="Graphic 14" descr="Arrow: Slight curve">
            <a:extLst>
              <a:ext uri="{FF2B5EF4-FFF2-40B4-BE49-F238E27FC236}">
                <a16:creationId xmlns="" xmlns:a16="http://schemas.microsoft.com/office/drawing/2014/main" id="{B36F261A-ED6A-4D36-8957-1EB900EE6A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57012" y="2290639"/>
            <a:ext cx="914400" cy="914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2F1A0681-C2FA-4502-AAE9-037D480A73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0233" y="1421768"/>
            <a:ext cx="1542279" cy="2743200"/>
          </a:xfrm>
          <a:prstGeom prst="rect">
            <a:avLst/>
          </a:prstGeom>
        </p:spPr>
      </p:pic>
      <p:sp>
        <p:nvSpPr>
          <p:cNvPr id="17" name="Speech Bubble: Rectangle with Corners Rounded 16">
            <a:extLst>
              <a:ext uri="{FF2B5EF4-FFF2-40B4-BE49-F238E27FC236}">
                <a16:creationId xmlns="" xmlns:a16="http://schemas.microsoft.com/office/drawing/2014/main" id="{83030BD8-51A9-42C5-A872-637902F74FAB}"/>
              </a:ext>
            </a:extLst>
          </p:cNvPr>
          <p:cNvSpPr/>
          <p:nvPr/>
        </p:nvSpPr>
        <p:spPr>
          <a:xfrm>
            <a:off x="2286000" y="1412876"/>
            <a:ext cx="1116419" cy="900174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2">
                    <a:lumMod val="10000"/>
                  </a:schemeClr>
                </a:solidFill>
              </a:rPr>
              <a:t>Das Symbol der App etwas länger sanft berühren</a:t>
            </a: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="" xmlns:a16="http://schemas.microsoft.com/office/drawing/2014/main" id="{6A012060-196D-4DCF-A97B-7CFA526577DD}"/>
              </a:ext>
            </a:extLst>
          </p:cNvPr>
          <p:cNvSpPr/>
          <p:nvPr/>
        </p:nvSpPr>
        <p:spPr>
          <a:xfrm>
            <a:off x="5176225" y="1413369"/>
            <a:ext cx="979951" cy="877270"/>
          </a:xfrm>
          <a:prstGeom prst="wedgeRoundRectCallout">
            <a:avLst>
              <a:gd name="adj1" fmla="val -47118"/>
              <a:gd name="adj2" fmla="val 77405"/>
              <a:gd name="adj3" fmla="val 16667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bg2">
                    <a:lumMod val="10000"/>
                  </a:schemeClr>
                </a:solidFill>
              </a:rPr>
              <a:t>Auf das „x“ tippen, um die App zu löschen</a:t>
            </a:r>
          </a:p>
        </p:txBody>
      </p:sp>
    </p:spTree>
    <p:extLst>
      <p:ext uri="{BB962C8B-B14F-4D97-AF65-F5344CB8AC3E}">
        <p14:creationId xmlns:p14="http://schemas.microsoft.com/office/powerpoint/2010/main" val="40179468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15.02.2018 16:04:44"/>
  <p:tag name="MIO_DBID" val="ED9FF2F2-6643-46BA-B685-7D49126FFAFF"/>
  <p:tag name="MIO_LASTDOWNLOADED" val="18.05.2018 09:49:05"/>
  <p:tag name="MIO_OBJECTNAME" val="Corporate, 16x9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-mail" ma:contentTypeID="0x010100D87E4267E63C4E5DAFA7C46F5E1B158D00078C5A642251334EBF51619F9BB4E949" ma:contentTypeVersion="1" ma:contentTypeDescription="E-mail Content Type" ma:contentTypeScope="" ma:versionID="72a45c98c244cb41c085009b37da8d1a">
  <xsd:schema xmlns:xsd="http://www.w3.org/2001/XMLSchema" xmlns:xs="http://www.w3.org/2001/XMLSchema" xmlns:p="http://schemas.microsoft.com/office/2006/metadata/properties" xmlns:ns2="95c513b0-c10d-423e-b51d-333fbda9c263" targetNamespace="http://schemas.microsoft.com/office/2006/metadata/properties" ma:root="true" ma:fieldsID="3390e4c91de24e31fb5f24170a2dc53e" ns2:_="">
    <xsd:import namespace="95c513b0-c10d-423e-b51d-333fbda9c263"/>
    <xsd:element name="properties">
      <xsd:complexType>
        <xsd:sequence>
          <xsd:element name="documentManagement">
            <xsd:complexType>
              <xsd:all>
                <xsd:element ref="ns2:MailCc" minOccurs="0"/>
                <xsd:element ref="ns2:MailDate" minOccurs="0"/>
                <xsd:element ref="ns2:MailFrom" minOccurs="0"/>
                <xsd:element ref="ns2:MailAttachments" minOccurs="0"/>
                <xsd:element ref="ns2:MailIn-Reply-To" minOccurs="0"/>
                <xsd:element ref="ns2:MailOriginalSubject" minOccurs="0"/>
                <xsd:element ref="ns2:MailReferences" minOccurs="0"/>
                <xsd:element ref="ns2:MailReply-To" minOccurs="0"/>
                <xsd:element ref="ns2:MailSubject" minOccurs="0"/>
                <xsd:element ref="ns2:MailT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c513b0-c10d-423e-b51d-333fbda9c263" elementFormDefault="qualified">
    <xsd:import namespace="http://schemas.microsoft.com/office/2006/documentManagement/types"/>
    <xsd:import namespace="http://schemas.microsoft.com/office/infopath/2007/PartnerControls"/>
    <xsd:element name="MailCc" ma:index="8" nillable="true" ma:displayName="Cc" ma:description="The identity of the secondary recipients of the message." ma:internalName="MailCc">
      <xsd:simpleType>
        <xsd:restriction base="dms:Note">
          <xsd:maxLength value="255"/>
        </xsd:restriction>
      </xsd:simpleType>
    </xsd:element>
    <xsd:element name="MailDate" ma:index="9" nillable="true" ma:displayName="Date" ma:description="The date and time when the message was sent." ma:format="DateTime" ma:internalName="MailDate">
      <xsd:simpleType>
        <xsd:restriction base="dms:DateTime"/>
      </xsd:simpleType>
    </xsd:element>
    <xsd:element name="MailFrom" ma:index="10" nillable="true" ma:displayName="From" ma:description="The identity of the person who sent the message." ma:internalName="MailFrom">
      <xsd:simpleType>
        <xsd:restriction base="dms:Text">
          <xsd:maxLength value="255"/>
        </xsd:restriction>
      </xsd:simpleType>
    </xsd:element>
    <xsd:element name="MailAttachments" ma:index="11" nillable="true" ma:displayName="Attachments" ma:default="0" ma:description="Indicates if the e-mail message contains one or more attachments." ma:internalName="MailAttachments">
      <xsd:simpleType>
        <xsd:restriction base="dms:Boolean">
          <xsd:maxLength value="255"/>
        </xsd:restriction>
      </xsd:simpleType>
    </xsd:element>
    <xsd:element name="MailIn-Reply-To" ma:index="12" nillable="true" ma:displayName="In-Reply-To" ma:description="The contents of this field identify previous correspondence that this message answers." ma:internalName="MailIn_x002d_Reply_x002d_To">
      <xsd:simpleType>
        <xsd:restriction base="dms:Text">
          <xsd:maxLength value="255"/>
        </xsd:restriction>
      </xsd:simpleType>
    </xsd:element>
    <xsd:element name="MailOriginalSubject" ma:index="13" nillable="true" ma:displayName="OriginalSubject" ma:description="A summary of the message." ma:internalName="MailOriginalSubject">
      <xsd:simpleType>
        <xsd:restriction base="dms:Text">
          <xsd:maxLength value="255"/>
        </xsd:restriction>
      </xsd:simpleType>
    </xsd:element>
    <xsd:element name="MailReferences" ma:index="14" nillable="true" ma:displayName="References" ma:description="The contents of this field identify other correspondence that this message answers." ma:internalName="MailReferences">
      <xsd:simpleType>
        <xsd:restriction base="dms:Text">
          <xsd:maxLength value="255"/>
        </xsd:restriction>
      </xsd:simpleType>
    </xsd:element>
    <xsd:element name="MailReply-To" ma:index="15" nillable="true" ma:displayName="Reply-To" ma:description="Indicates any mailbox(es) to which responses are to be sent." ma:internalName="MailReply_x002d_To">
      <xsd:simpleType>
        <xsd:restriction base="dms:Text">
          <xsd:maxLength value="255"/>
        </xsd:restriction>
      </xsd:simpleType>
    </xsd:element>
    <xsd:element name="MailSubject" ma:index="16" nillable="true" ma:displayName="Subject" ma:description="A summary of the message." ma:internalName="MailSubject">
      <xsd:simpleType>
        <xsd:restriction base="dms:Text">
          <xsd:maxLength value="255"/>
        </xsd:restriction>
      </xsd:simpleType>
    </xsd:element>
    <xsd:element name="MailTo" ma:index="17" nillable="true" ma:displayName="To" ma:description="The identity of the primary recipients of the message." ma:internalName="MailTo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extClientConfidential xmlns="f6019c3b-507c-4714-a95d-ac0bce2b6aaa">For internal use only</NextClientConfidential>
  </documentManagement>
</p:properties>
</file>

<file path=customXml/itemProps1.xml><?xml version="1.0" encoding="utf-8"?>
<ds:datastoreItem xmlns:ds="http://schemas.openxmlformats.org/officeDocument/2006/customXml" ds:itemID="{9059109A-C1A6-416C-9403-CE99E1C9F7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c513b0-c10d-423e-b51d-333fbda9c2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EB79062-91A4-4515-A61F-E5795238F8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D53236-7190-4133-8F9D-97ADD0752C88}">
  <ds:schemaRefs>
    <ds:schemaRef ds:uri="http://schemas.microsoft.com/office/2006/metadata/properties"/>
    <ds:schemaRef ds:uri="http://schemas.microsoft.com/office/infopath/2007/PartnerControls"/>
    <ds:schemaRef ds:uri="f6019c3b-507c-4714-a95d-ac0bce2b6aa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2</Words>
  <Application>Microsoft Office PowerPoint</Application>
  <PresentationFormat>Bildschirmpräsentation (16:9)</PresentationFormat>
  <Paragraphs>127</Paragraphs>
  <Slides>2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7" baseType="lpstr">
      <vt:lpstr>Arial</vt:lpstr>
      <vt:lpstr>Arial Black</vt:lpstr>
      <vt:lpstr>Calibri</vt:lpstr>
      <vt:lpstr>Times New Roman</vt:lpstr>
      <vt:lpstr>Continental AG, 4x3</vt:lpstr>
      <vt:lpstr>Verwendung von Social-Media-Apps</vt:lpstr>
      <vt:lpstr>Klassen mobiler Geräte, für die das Vorstandsschreiben „Verwendung von Social-Media-Apps“ vom 4. Juni 2018 gilt</vt:lpstr>
      <vt:lpstr>Benutzer mobiler Geräte müssen die folgenden Schritte ausführen</vt:lpstr>
      <vt:lpstr>Deinstallation von Snapchat und WhatsApp Was geschieht, wenn Benutzer diese Apps nicht deinstallieren?</vt:lpstr>
      <vt:lpstr>Anweisungen für mobile Geräte mit dem Betriebssystem iOS</vt:lpstr>
      <vt:lpstr>Deinstallation von WhatsApp Wie wird der WhatsApp Benutzeraccount gelöscht?</vt:lpstr>
      <vt:lpstr>Deinstallation von WhatsApp Löschung von WhatsApp auf einem iPhone</vt:lpstr>
      <vt:lpstr>Deinstallation von Snapchat Löschung des Snapchat Benutzeraccounts                  Geben Sie folgende URL ein:  https://support.snapchat.com/delete-account </vt:lpstr>
      <vt:lpstr>Deinstallation von Snapchat Löschung von Snapchat auf einem iPhone</vt:lpstr>
      <vt:lpstr>Deaktivierung des Kontaktuploads auf iOS  Facebook Messenger</vt:lpstr>
      <vt:lpstr>Deaktivierung des Kontaktuploads auf iOS LinkedIn  </vt:lpstr>
      <vt:lpstr>Deaktivierung des Kontaktuploads auf iOS Instagram</vt:lpstr>
      <vt:lpstr>Anweisungen für mobile Geräte mit dem Betriebssystem Android</vt:lpstr>
      <vt:lpstr>Deinstallation von Apps und Deaktivieren des Hochladens von Kontakten auf Geräten mit dem Betriebssystem Android</vt:lpstr>
      <vt:lpstr>Deinstallation von WhatsApp Wie wird der WhatsApp Benutzeraccount gelöscht?</vt:lpstr>
      <vt:lpstr>Deinstallation von WhatsApp Löschung von WhatsApp auf einem Android-Gerät</vt:lpstr>
      <vt:lpstr>Deinstallation von Snapchat Löschung des Snapchat Benutzeraccounts                  Geben Sie folgende URL ein:  https://support.snapchat.com/delete-account </vt:lpstr>
      <vt:lpstr>Deinstallation von Snapchat Löschung von Snapchat auf einem Android-Gerät</vt:lpstr>
      <vt:lpstr>Deaktivierung des Kontaktuploads auf Android Facebook Messenger</vt:lpstr>
      <vt:lpstr>Deaktivierung des Kontaktuploads auf Android  LinkedIn</vt:lpstr>
      <vt:lpstr>Deaktivierung des Kontaktuploads auf Android Instagram</vt:lpstr>
      <vt:lpstr>Suppor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oor</dc:creator>
  <cp:lastModifiedBy>Berthold, Thomas</cp:lastModifiedBy>
  <cp:revision>28</cp:revision>
  <cp:lastPrinted>2018-06-04T07:40:39Z</cp:lastPrinted>
  <dcterms:modified xsi:type="dcterms:W3CDTF">2018-06-05T08:1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7E4267E63C4E5DAFA7C46F5E1B158D00078C5A642251334EBF51619F9BB4E949</vt:lpwstr>
  </property>
  <property fmtid="{D5CDD505-2E9C-101B-9397-08002B2CF9AE}" pid="3" name="MSIP_Label_1280c2d8-8590-4135-9a58-029c62e2aa4b_Enabled">
    <vt:lpwstr>True</vt:lpwstr>
  </property>
  <property fmtid="{D5CDD505-2E9C-101B-9397-08002B2CF9AE}" pid="4" name="MSIP_Label_1280c2d8-8590-4135-9a58-029c62e2aa4b_SiteId">
    <vt:lpwstr>8d4b558f-7b2e-40ba-ad1f-e04d79e6265a</vt:lpwstr>
  </property>
  <property fmtid="{D5CDD505-2E9C-101B-9397-08002B2CF9AE}" pid="5" name="MSIP_Label_1280c2d8-8590-4135-9a58-029c62e2aa4b_Ref">
    <vt:lpwstr>https://api.informationprotection.azure.com/api/8d4b558f-7b2e-40ba-ad1f-e04d79e6265a</vt:lpwstr>
  </property>
  <property fmtid="{D5CDD505-2E9C-101B-9397-08002B2CF9AE}" pid="6" name="MSIP_Label_1280c2d8-8590-4135-9a58-029c62e2aa4b_SetBy">
    <vt:lpwstr>uia00145@contiwan.com</vt:lpwstr>
  </property>
  <property fmtid="{D5CDD505-2E9C-101B-9397-08002B2CF9AE}" pid="7" name="MSIP_Label_1280c2d8-8590-4135-9a58-029c62e2aa4b_SetDate">
    <vt:lpwstr>2018-05-29T17:11:17.5964485+02:00</vt:lpwstr>
  </property>
  <property fmtid="{D5CDD505-2E9C-101B-9397-08002B2CF9AE}" pid="8" name="MSIP_Label_1280c2d8-8590-4135-9a58-029c62e2aa4b_Name">
    <vt:lpwstr>Internal</vt:lpwstr>
  </property>
  <property fmtid="{D5CDD505-2E9C-101B-9397-08002B2CF9AE}" pid="9" name="MSIP_Label_1280c2d8-8590-4135-9a58-029c62e2aa4b_Application">
    <vt:lpwstr>Microsoft Azure Information Protection</vt:lpwstr>
  </property>
  <property fmtid="{D5CDD505-2E9C-101B-9397-08002B2CF9AE}" pid="10" name="MSIP_Label_1280c2d8-8590-4135-9a58-029c62e2aa4b_Extended_MSFT_Method">
    <vt:lpwstr>Automatic</vt:lpwstr>
  </property>
  <property fmtid="{D5CDD505-2E9C-101B-9397-08002B2CF9AE}" pid="11" name="Sensitivity">
    <vt:lpwstr>Internal</vt:lpwstr>
  </property>
</Properties>
</file>